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648" r:id="rId1"/>
  </p:sldMasterIdLst>
  <p:notesMasterIdLst>
    <p:notesMasterId r:id="rId21"/>
  </p:notesMasterIdLst>
  <p:sldIdLst>
    <p:sldId id="264" r:id="rId2"/>
    <p:sldId id="271" r:id="rId3"/>
    <p:sldId id="273" r:id="rId4"/>
    <p:sldId id="270" r:id="rId5"/>
    <p:sldId id="275" r:id="rId6"/>
    <p:sldId id="276" r:id="rId7"/>
    <p:sldId id="278" r:id="rId8"/>
    <p:sldId id="277" r:id="rId9"/>
    <p:sldId id="279" r:id="rId10"/>
    <p:sldId id="286" r:id="rId11"/>
    <p:sldId id="290" r:id="rId12"/>
    <p:sldId id="289" r:id="rId13"/>
    <p:sldId id="293" r:id="rId14"/>
    <p:sldId id="296" r:id="rId15"/>
    <p:sldId id="297" r:id="rId16"/>
    <p:sldId id="295" r:id="rId17"/>
    <p:sldId id="298" r:id="rId18"/>
    <p:sldId id="299" r:id="rId19"/>
    <p:sldId id="292" r:id="rId20"/>
  </p:sldIdLst>
  <p:sldSz cx="9144000" cy="5143500" type="screen16x9"/>
  <p:notesSz cx="6858000" cy="9144000"/>
  <p:embeddedFontLst>
    <p:embeddedFont>
      <p:font typeface="Barlow" panose="00000500000000000000" pitchFamily="2" charset="0"/>
      <p:regular r:id="rId22"/>
      <p:bold r:id="rId23"/>
      <p:italic r:id="rId24"/>
      <p:boldItalic r:id="rId25"/>
    </p:embeddedFont>
    <p:embeddedFont>
      <p:font typeface="Barlow Light" panose="00000400000000000000" pitchFamily="2" charset="0"/>
      <p:regular r:id="rId26"/>
      <p:italic r:id="rId27"/>
    </p:embeddedFon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Consolas" panose="020B0609020204030204" pitchFamily="49" charset="0"/>
      <p:regular r:id="rId32"/>
      <p:bold r:id="rId33"/>
      <p:italic r:id="rId34"/>
      <p:boldItalic r:id="rId35"/>
    </p:embeddedFont>
    <p:embeddedFont>
      <p:font typeface="Josefin Sans" pitchFamily="2" charset="0"/>
      <p:regular r:id="rId36"/>
      <p:bold r:id="rId37"/>
    </p:embeddedFont>
    <p:embeddedFont>
      <p:font typeface="Lato" panose="020F0502020204030203" pitchFamily="34" charset="0"/>
      <p:regular r:id="rId38"/>
      <p:bold r:id="rId39"/>
      <p:italic r:id="rId40"/>
      <p:boldItalic r:id="rId41"/>
    </p:embeddedFont>
    <p:embeddedFont>
      <p:font typeface="Merriweather Light" panose="00000400000000000000" pitchFamily="2" charset="0"/>
      <p:regular r:id="rId42"/>
      <p:italic r:id="rId43"/>
    </p:embeddedFont>
    <p:embeddedFont>
      <p:font typeface="Montserrat" panose="00000500000000000000" pitchFamily="2" charset="0"/>
      <p:regular r:id="rId44"/>
      <p:bold r:id="rId45"/>
      <p:italic r:id="rId46"/>
      <p:boldItalic r:id="rId47"/>
    </p:embeddedFont>
    <p:embeddedFont>
      <p:font typeface="Open Sans SemiBold" panose="020B0706030804020204" pitchFamily="34" charset="0"/>
      <p:bold r:id="rId48"/>
      <p:boldItalic r:id="rId49"/>
    </p:embeddedFont>
    <p:embeddedFont>
      <p:font typeface="Russo One" panose="020B0604020202020204" charset="0"/>
      <p:regular r:id="rId50"/>
    </p:embeddedFont>
    <p:embeddedFont>
      <p:font typeface="Vidaloka" panose="020B0604020202020204" charset="0"/>
      <p:regular r:id="rId5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3" autoAdjust="0"/>
    <p:restoredTop sz="80531" autoAdjust="0"/>
  </p:normalViewPr>
  <p:slideViewPr>
    <p:cSldViewPr snapToGrid="0">
      <p:cViewPr varScale="1">
        <p:scale>
          <a:sx n="72" d="100"/>
          <a:sy n="72" d="100"/>
        </p:scale>
        <p:origin x="992" y="8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39" Type="http://schemas.openxmlformats.org/officeDocument/2006/relationships/font" Target="fonts/font18.fntdata"/><Relationship Id="rId21" Type="http://schemas.openxmlformats.org/officeDocument/2006/relationships/notesMaster" Target="notesMasters/notesMaster1.xml"/><Relationship Id="rId34" Type="http://schemas.openxmlformats.org/officeDocument/2006/relationships/font" Target="fonts/font13.fntdata"/><Relationship Id="rId42" Type="http://schemas.openxmlformats.org/officeDocument/2006/relationships/font" Target="fonts/font21.fntdata"/><Relationship Id="rId47" Type="http://schemas.openxmlformats.org/officeDocument/2006/relationships/font" Target="fonts/font26.fntdata"/><Relationship Id="rId50" Type="http://schemas.openxmlformats.org/officeDocument/2006/relationships/font" Target="fonts/font29.fntdata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8.fntdata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font" Target="fonts/font19.fntdata"/><Relationship Id="rId45" Type="http://schemas.openxmlformats.org/officeDocument/2006/relationships/font" Target="fonts/font24.fntdata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0.fntdata"/><Relationship Id="rId44" Type="http://schemas.openxmlformats.org/officeDocument/2006/relationships/font" Target="fonts/font23.fntdata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font" Target="fonts/font22.fntdata"/><Relationship Id="rId48" Type="http://schemas.openxmlformats.org/officeDocument/2006/relationships/font" Target="fonts/font27.fntdata"/><Relationship Id="rId56" Type="http://schemas.microsoft.com/office/2016/11/relationships/changesInfo" Target="changesInfos/changesInfo1.xml"/><Relationship Id="rId8" Type="http://schemas.openxmlformats.org/officeDocument/2006/relationships/slide" Target="slides/slide7.xml"/><Relationship Id="rId51" Type="http://schemas.openxmlformats.org/officeDocument/2006/relationships/font" Target="fonts/font30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font" Target="fonts/font17.fntdata"/><Relationship Id="rId46" Type="http://schemas.openxmlformats.org/officeDocument/2006/relationships/font" Target="fonts/font25.fntdata"/><Relationship Id="rId20" Type="http://schemas.openxmlformats.org/officeDocument/2006/relationships/slide" Target="slides/slide19.xml"/><Relationship Id="rId41" Type="http://schemas.openxmlformats.org/officeDocument/2006/relationships/font" Target="fonts/font20.fntdata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49" Type="http://schemas.openxmlformats.org/officeDocument/2006/relationships/font" Target="fonts/font28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gnesh Kumar" userId="d2a151a06cf16fa7" providerId="LiveId" clId="{FA248216-EF8E-4DD2-A4C1-4D2291850236}"/>
    <pc:docChg chg="undo redo custSel addSld delSld modSld sldOrd">
      <pc:chgData name="Vignesh Kumar" userId="d2a151a06cf16fa7" providerId="LiveId" clId="{FA248216-EF8E-4DD2-A4C1-4D2291850236}" dt="2022-01-13T07:24:22.013" v="1229" actId="255"/>
      <pc:docMkLst>
        <pc:docMk/>
      </pc:docMkLst>
      <pc:sldChg chg="del">
        <pc:chgData name="Vignesh Kumar" userId="d2a151a06cf16fa7" providerId="LiveId" clId="{FA248216-EF8E-4DD2-A4C1-4D2291850236}" dt="2022-01-13T06:32:47.649" v="11" actId="2696"/>
        <pc:sldMkLst>
          <pc:docMk/>
          <pc:sldMk cId="0" sldId="267"/>
        </pc:sldMkLst>
      </pc:sldChg>
      <pc:sldChg chg="del">
        <pc:chgData name="Vignesh Kumar" userId="d2a151a06cf16fa7" providerId="LiveId" clId="{FA248216-EF8E-4DD2-A4C1-4D2291850236}" dt="2022-01-13T06:32:50.449" v="12" actId="2696"/>
        <pc:sldMkLst>
          <pc:docMk/>
          <pc:sldMk cId="0" sldId="268"/>
        </pc:sldMkLst>
      </pc:sldChg>
      <pc:sldChg chg="del">
        <pc:chgData name="Vignesh Kumar" userId="d2a151a06cf16fa7" providerId="LiveId" clId="{FA248216-EF8E-4DD2-A4C1-4D2291850236}" dt="2022-01-13T06:32:53.189" v="13" actId="2696"/>
        <pc:sldMkLst>
          <pc:docMk/>
          <pc:sldMk cId="0" sldId="269"/>
        </pc:sldMkLst>
      </pc:sldChg>
      <pc:sldChg chg="modSp mod">
        <pc:chgData name="Vignesh Kumar" userId="d2a151a06cf16fa7" providerId="LiveId" clId="{FA248216-EF8E-4DD2-A4C1-4D2291850236}" dt="2022-01-13T06:58:29.329" v="404" actId="207"/>
        <pc:sldMkLst>
          <pc:docMk/>
          <pc:sldMk cId="0" sldId="270"/>
        </pc:sldMkLst>
        <pc:spChg chg="mod">
          <ac:chgData name="Vignesh Kumar" userId="d2a151a06cf16fa7" providerId="LiveId" clId="{FA248216-EF8E-4DD2-A4C1-4D2291850236}" dt="2022-01-13T06:58:29.329" v="404" actId="207"/>
          <ac:spMkLst>
            <pc:docMk/>
            <pc:sldMk cId="0" sldId="270"/>
            <ac:spMk id="2" creationId="{00000000-0000-0000-0000-000000000000}"/>
          </ac:spMkLst>
        </pc:spChg>
        <pc:spChg chg="mod">
          <ac:chgData name="Vignesh Kumar" userId="d2a151a06cf16fa7" providerId="LiveId" clId="{FA248216-EF8E-4DD2-A4C1-4D2291850236}" dt="2022-01-13T06:34:42.246" v="98" actId="20577"/>
          <ac:spMkLst>
            <pc:docMk/>
            <pc:sldMk cId="0" sldId="270"/>
            <ac:spMk id="3" creationId="{00000000-0000-0000-0000-000000000000}"/>
          </ac:spMkLst>
        </pc:spChg>
      </pc:sldChg>
      <pc:sldChg chg="modSp mod">
        <pc:chgData name="Vignesh Kumar" userId="d2a151a06cf16fa7" providerId="LiveId" clId="{FA248216-EF8E-4DD2-A4C1-4D2291850236}" dt="2022-01-13T07:20:15.006" v="1118" actId="20577"/>
        <pc:sldMkLst>
          <pc:docMk/>
          <pc:sldMk cId="0" sldId="275"/>
        </pc:sldMkLst>
        <pc:spChg chg="mod">
          <ac:chgData name="Vignesh Kumar" userId="d2a151a06cf16fa7" providerId="LiveId" clId="{FA248216-EF8E-4DD2-A4C1-4D2291850236}" dt="2022-01-13T07:20:15.006" v="1118" actId="20577"/>
          <ac:spMkLst>
            <pc:docMk/>
            <pc:sldMk cId="0" sldId="275"/>
            <ac:spMk id="3" creationId="{00000000-0000-0000-0000-000000000000}"/>
          </ac:spMkLst>
        </pc:spChg>
      </pc:sldChg>
      <pc:sldChg chg="modSp mod">
        <pc:chgData name="Vignesh Kumar" userId="d2a151a06cf16fa7" providerId="LiveId" clId="{FA248216-EF8E-4DD2-A4C1-4D2291850236}" dt="2022-01-13T06:58:34.639" v="405" actId="207"/>
        <pc:sldMkLst>
          <pc:docMk/>
          <pc:sldMk cId="0" sldId="276"/>
        </pc:sldMkLst>
        <pc:spChg chg="mod">
          <ac:chgData name="Vignesh Kumar" userId="d2a151a06cf16fa7" providerId="LiveId" clId="{FA248216-EF8E-4DD2-A4C1-4D2291850236}" dt="2022-01-13T06:58:34.639" v="405" actId="207"/>
          <ac:spMkLst>
            <pc:docMk/>
            <pc:sldMk cId="0" sldId="276"/>
            <ac:spMk id="2" creationId="{00000000-0000-0000-0000-000000000000}"/>
          </ac:spMkLst>
        </pc:spChg>
        <pc:spChg chg="mod">
          <ac:chgData name="Vignesh Kumar" userId="d2a151a06cf16fa7" providerId="LiveId" clId="{FA248216-EF8E-4DD2-A4C1-4D2291850236}" dt="2022-01-13T06:37:17.435" v="159" actId="20577"/>
          <ac:spMkLst>
            <pc:docMk/>
            <pc:sldMk cId="0" sldId="276"/>
            <ac:spMk id="3" creationId="{00000000-0000-0000-0000-000000000000}"/>
          </ac:spMkLst>
        </pc:spChg>
        <pc:spChg chg="mod">
          <ac:chgData name="Vignesh Kumar" userId="d2a151a06cf16fa7" providerId="LiveId" clId="{FA248216-EF8E-4DD2-A4C1-4D2291850236}" dt="2022-01-13T06:37:06.835" v="134" actId="14100"/>
          <ac:spMkLst>
            <pc:docMk/>
            <pc:sldMk cId="0" sldId="276"/>
            <ac:spMk id="4" creationId="{00000000-0000-0000-0000-000000000000}"/>
          </ac:spMkLst>
        </pc:spChg>
      </pc:sldChg>
      <pc:sldChg chg="modNotesTx">
        <pc:chgData name="Vignesh Kumar" userId="d2a151a06cf16fa7" providerId="LiveId" clId="{FA248216-EF8E-4DD2-A4C1-4D2291850236}" dt="2022-01-13T07:21:10.032" v="1179" actId="20577"/>
        <pc:sldMkLst>
          <pc:docMk/>
          <pc:sldMk cId="0" sldId="277"/>
        </pc:sldMkLst>
      </pc:sldChg>
      <pc:sldChg chg="addSp delSp modSp mod">
        <pc:chgData name="Vignesh Kumar" userId="d2a151a06cf16fa7" providerId="LiveId" clId="{FA248216-EF8E-4DD2-A4C1-4D2291850236}" dt="2022-01-13T07:24:22.013" v="1229" actId="255"/>
        <pc:sldMkLst>
          <pc:docMk/>
          <pc:sldMk cId="0" sldId="278"/>
        </pc:sldMkLst>
        <pc:graphicFrameChg chg="del modGraphic">
          <ac:chgData name="Vignesh Kumar" userId="d2a151a06cf16fa7" providerId="LiveId" clId="{FA248216-EF8E-4DD2-A4C1-4D2291850236}" dt="2022-01-13T07:23:28.810" v="1220" actId="478"/>
          <ac:graphicFrameMkLst>
            <pc:docMk/>
            <pc:sldMk cId="0" sldId="278"/>
            <ac:graphicFrameMk id="3" creationId="{00000000-0000-0000-0000-000000000000}"/>
          </ac:graphicFrameMkLst>
        </pc:graphicFrameChg>
        <pc:graphicFrameChg chg="add mod modGraphic">
          <ac:chgData name="Vignesh Kumar" userId="d2a151a06cf16fa7" providerId="LiveId" clId="{FA248216-EF8E-4DD2-A4C1-4D2291850236}" dt="2022-01-13T07:24:22.013" v="1229" actId="255"/>
          <ac:graphicFrameMkLst>
            <pc:docMk/>
            <pc:sldMk cId="0" sldId="278"/>
            <ac:graphicFrameMk id="4" creationId="{20D32BA1-084A-47B5-9955-C758339A340B}"/>
          </ac:graphicFrameMkLst>
        </pc:graphicFrameChg>
      </pc:sldChg>
      <pc:sldChg chg="modSp mod">
        <pc:chgData name="Vignesh Kumar" userId="d2a151a06cf16fa7" providerId="LiveId" clId="{FA248216-EF8E-4DD2-A4C1-4D2291850236}" dt="2022-01-13T06:49:18.466" v="176" actId="113"/>
        <pc:sldMkLst>
          <pc:docMk/>
          <pc:sldMk cId="0" sldId="286"/>
        </pc:sldMkLst>
        <pc:graphicFrameChg chg="mod">
          <ac:chgData name="Vignesh Kumar" userId="d2a151a06cf16fa7" providerId="LiveId" clId="{FA248216-EF8E-4DD2-A4C1-4D2291850236}" dt="2022-01-13T06:49:18.466" v="176" actId="113"/>
          <ac:graphicFrameMkLst>
            <pc:docMk/>
            <pc:sldMk cId="0" sldId="286"/>
            <ac:graphicFrameMk id="11" creationId="{00000000-0000-0000-0000-000000000000}"/>
          </ac:graphicFrameMkLst>
        </pc:graphicFrameChg>
      </pc:sldChg>
      <pc:sldChg chg="addSp delSp modSp mod">
        <pc:chgData name="Vignesh Kumar" userId="d2a151a06cf16fa7" providerId="LiveId" clId="{FA248216-EF8E-4DD2-A4C1-4D2291850236}" dt="2022-01-13T06:31:47.245" v="10" actId="12"/>
        <pc:sldMkLst>
          <pc:docMk/>
          <pc:sldMk cId="0" sldId="289"/>
        </pc:sldMkLst>
        <pc:spChg chg="mod">
          <ac:chgData name="Vignesh Kumar" userId="d2a151a06cf16fa7" providerId="LiveId" clId="{FA248216-EF8E-4DD2-A4C1-4D2291850236}" dt="2022-01-13T06:30:29.040" v="0" actId="1076"/>
          <ac:spMkLst>
            <pc:docMk/>
            <pc:sldMk cId="0" sldId="289"/>
            <ac:spMk id="10" creationId="{00000000-0000-0000-0000-000000000000}"/>
          </ac:spMkLst>
        </pc:spChg>
        <pc:spChg chg="mod">
          <ac:chgData name="Vignesh Kumar" userId="d2a151a06cf16fa7" providerId="LiveId" clId="{FA248216-EF8E-4DD2-A4C1-4D2291850236}" dt="2022-01-13T06:31:47.245" v="10" actId="12"/>
          <ac:spMkLst>
            <pc:docMk/>
            <pc:sldMk cId="0" sldId="289"/>
            <ac:spMk id="16" creationId="{00000000-0000-0000-0000-000000000000}"/>
          </ac:spMkLst>
        </pc:spChg>
        <pc:graphicFrameChg chg="add del modGraphic">
          <ac:chgData name="Vignesh Kumar" userId="d2a151a06cf16fa7" providerId="LiveId" clId="{FA248216-EF8E-4DD2-A4C1-4D2291850236}" dt="2022-01-13T06:31:28.343" v="5"/>
          <ac:graphicFrameMkLst>
            <pc:docMk/>
            <pc:sldMk cId="0" sldId="289"/>
            <ac:graphicFrameMk id="6" creationId="{8AA19F24-B59F-48C5-8FFD-59DBC494FC9E}"/>
          </ac:graphicFrameMkLst>
        </pc:graphicFrameChg>
        <pc:picChg chg="mod">
          <ac:chgData name="Vignesh Kumar" userId="d2a151a06cf16fa7" providerId="LiveId" clId="{FA248216-EF8E-4DD2-A4C1-4D2291850236}" dt="2022-01-13T06:31:38.908" v="8" actId="1076"/>
          <ac:picMkLst>
            <pc:docMk/>
            <pc:sldMk cId="0" sldId="289"/>
            <ac:picMk id="9" creationId="{00000000-0000-0000-0000-000000000000}"/>
          </ac:picMkLst>
        </pc:picChg>
      </pc:sldChg>
      <pc:sldChg chg="addSp delSp modSp mod">
        <pc:chgData name="Vignesh Kumar" userId="d2a151a06cf16fa7" providerId="LiveId" clId="{FA248216-EF8E-4DD2-A4C1-4D2291850236}" dt="2022-01-13T07:20:31.134" v="1124" actId="11529"/>
        <pc:sldMkLst>
          <pc:docMk/>
          <pc:sldMk cId="0" sldId="290"/>
        </pc:sldMkLst>
        <pc:spChg chg="mod">
          <ac:chgData name="Vignesh Kumar" userId="d2a151a06cf16fa7" providerId="LiveId" clId="{FA248216-EF8E-4DD2-A4C1-4D2291850236}" dt="2022-01-13T06:49:35.569" v="177" actId="255"/>
          <ac:spMkLst>
            <pc:docMk/>
            <pc:sldMk cId="0" sldId="290"/>
            <ac:spMk id="8" creationId="{00000000-0000-0000-0000-000000000000}"/>
          </ac:spMkLst>
        </pc:spChg>
        <pc:spChg chg="mod">
          <ac:chgData name="Vignesh Kumar" userId="d2a151a06cf16fa7" providerId="LiveId" clId="{FA248216-EF8E-4DD2-A4C1-4D2291850236}" dt="2022-01-13T07:19:17.215" v="1109" actId="113"/>
          <ac:spMkLst>
            <pc:docMk/>
            <pc:sldMk cId="0" sldId="290"/>
            <ac:spMk id="9" creationId="{00000000-0000-0000-0000-000000000000}"/>
          </ac:spMkLst>
        </pc:spChg>
        <pc:cxnChg chg="add del mod">
          <ac:chgData name="Vignesh Kumar" userId="d2a151a06cf16fa7" providerId="LiveId" clId="{FA248216-EF8E-4DD2-A4C1-4D2291850236}" dt="2022-01-13T07:20:31.134" v="1124" actId="11529"/>
          <ac:cxnSpMkLst>
            <pc:docMk/>
            <pc:sldMk cId="0" sldId="290"/>
            <ac:cxnSpMk id="3" creationId="{C5EF29F6-D30D-4ECE-B811-97AF7F88B3C0}"/>
          </ac:cxnSpMkLst>
        </pc:cxnChg>
      </pc:sldChg>
      <pc:sldChg chg="addSp delSp modSp mod">
        <pc:chgData name="Vignesh Kumar" userId="d2a151a06cf16fa7" providerId="LiveId" clId="{FA248216-EF8E-4DD2-A4C1-4D2291850236}" dt="2022-01-13T06:59:32.470" v="408" actId="14100"/>
        <pc:sldMkLst>
          <pc:docMk/>
          <pc:sldMk cId="0" sldId="292"/>
        </pc:sldMkLst>
        <pc:spChg chg="add del mod">
          <ac:chgData name="Vignesh Kumar" userId="d2a151a06cf16fa7" providerId="LiveId" clId="{FA248216-EF8E-4DD2-A4C1-4D2291850236}" dt="2022-01-13T06:52:48.899" v="268" actId="478"/>
          <ac:spMkLst>
            <pc:docMk/>
            <pc:sldMk cId="0" sldId="292"/>
            <ac:spMk id="4" creationId="{E3BACED2-C307-403E-B7FB-708E0C18EB54}"/>
          </ac:spMkLst>
        </pc:spChg>
        <pc:spChg chg="mod">
          <ac:chgData name="Vignesh Kumar" userId="d2a151a06cf16fa7" providerId="LiveId" clId="{FA248216-EF8E-4DD2-A4C1-4D2291850236}" dt="2022-01-13T06:51:08.479" v="218" actId="20577"/>
          <ac:spMkLst>
            <pc:docMk/>
            <pc:sldMk cId="0" sldId="292"/>
            <ac:spMk id="5" creationId="{00000000-0000-0000-0000-000000000000}"/>
          </ac:spMkLst>
        </pc:spChg>
        <pc:spChg chg="add mod">
          <ac:chgData name="Vignesh Kumar" userId="d2a151a06cf16fa7" providerId="LiveId" clId="{FA248216-EF8E-4DD2-A4C1-4D2291850236}" dt="2022-01-13T06:59:32.470" v="408" actId="14100"/>
          <ac:spMkLst>
            <pc:docMk/>
            <pc:sldMk cId="0" sldId="292"/>
            <ac:spMk id="8" creationId="{209D2997-1B7E-41E1-8149-676F7E9796EF}"/>
          </ac:spMkLst>
        </pc:spChg>
        <pc:spChg chg="mod">
          <ac:chgData name="Vignesh Kumar" userId="d2a151a06cf16fa7" providerId="LiveId" clId="{FA248216-EF8E-4DD2-A4C1-4D2291850236}" dt="2022-01-13T06:50:54.189" v="217" actId="5793"/>
          <ac:spMkLst>
            <pc:docMk/>
            <pc:sldMk cId="0" sldId="292"/>
            <ac:spMk id="16" creationId="{00000000-0000-0000-0000-000000000000}"/>
          </ac:spMkLst>
        </pc:spChg>
        <pc:cxnChg chg="add mod">
          <ac:chgData name="Vignesh Kumar" userId="d2a151a06cf16fa7" providerId="LiveId" clId="{FA248216-EF8E-4DD2-A4C1-4D2291850236}" dt="2022-01-13T06:53:36.879" v="271" actId="14100"/>
          <ac:cxnSpMkLst>
            <pc:docMk/>
            <pc:sldMk cId="0" sldId="292"/>
            <ac:cxnSpMk id="3" creationId="{ABB8E2F9-AC1F-4682-A99A-8C5E19D2E460}"/>
          </ac:cxnSpMkLst>
        </pc:cxnChg>
      </pc:sldChg>
      <pc:sldChg chg="modSp mod">
        <pc:chgData name="Vignesh Kumar" userId="d2a151a06cf16fa7" providerId="LiveId" clId="{FA248216-EF8E-4DD2-A4C1-4D2291850236}" dt="2022-01-13T06:51:52.649" v="224" actId="1076"/>
        <pc:sldMkLst>
          <pc:docMk/>
          <pc:sldMk cId="0" sldId="295"/>
        </pc:sldMkLst>
        <pc:spChg chg="mod">
          <ac:chgData name="Vignesh Kumar" userId="d2a151a06cf16fa7" providerId="LiveId" clId="{FA248216-EF8E-4DD2-A4C1-4D2291850236}" dt="2022-01-13T06:51:52.649" v="224" actId="1076"/>
          <ac:spMkLst>
            <pc:docMk/>
            <pc:sldMk cId="0" sldId="295"/>
            <ac:spMk id="10" creationId="{00000000-0000-0000-0000-000000000000}"/>
          </ac:spMkLst>
        </pc:spChg>
      </pc:sldChg>
      <pc:sldChg chg="modSp add mod ord">
        <pc:chgData name="Vignesh Kumar" userId="d2a151a06cf16fa7" providerId="LiveId" clId="{FA248216-EF8E-4DD2-A4C1-4D2291850236}" dt="2022-01-13T07:13:25.020" v="1076" actId="207"/>
        <pc:sldMkLst>
          <pc:docMk/>
          <pc:sldMk cId="29064780" sldId="296"/>
        </pc:sldMkLst>
        <pc:spChg chg="mod">
          <ac:chgData name="Vignesh Kumar" userId="d2a151a06cf16fa7" providerId="LiveId" clId="{FA248216-EF8E-4DD2-A4C1-4D2291850236}" dt="2022-01-13T06:58:42.476" v="406" actId="207"/>
          <ac:spMkLst>
            <pc:docMk/>
            <pc:sldMk cId="29064780" sldId="296"/>
            <ac:spMk id="2" creationId="{00000000-0000-0000-0000-000000000000}"/>
          </ac:spMkLst>
        </pc:spChg>
        <pc:spChg chg="mod">
          <ac:chgData name="Vignesh Kumar" userId="d2a151a06cf16fa7" providerId="LiveId" clId="{FA248216-EF8E-4DD2-A4C1-4D2291850236}" dt="2022-01-13T07:13:25.020" v="1076" actId="207"/>
          <ac:spMkLst>
            <pc:docMk/>
            <pc:sldMk cId="29064780" sldId="296"/>
            <ac:spMk id="3" creationId="{00000000-0000-0000-0000-000000000000}"/>
          </ac:spMkLst>
        </pc:spChg>
        <pc:spChg chg="mod">
          <ac:chgData name="Vignesh Kumar" userId="d2a151a06cf16fa7" providerId="LiveId" clId="{FA248216-EF8E-4DD2-A4C1-4D2291850236}" dt="2022-01-13T07:13:21.190" v="1075" actId="14100"/>
          <ac:spMkLst>
            <pc:docMk/>
            <pc:sldMk cId="29064780" sldId="296"/>
            <ac:spMk id="4" creationId="{00000000-0000-0000-0000-000000000000}"/>
          </ac:spMkLst>
        </pc:spChg>
      </pc:sldChg>
      <pc:sldChg chg="new del">
        <pc:chgData name="Vignesh Kumar" userId="d2a151a06cf16fa7" providerId="LiveId" clId="{FA248216-EF8E-4DD2-A4C1-4D2291850236}" dt="2022-01-13T07:00:11.603" v="411" actId="47"/>
        <pc:sldMkLst>
          <pc:docMk/>
          <pc:sldMk cId="879810082" sldId="297"/>
        </pc:sldMkLst>
      </pc:sldChg>
      <pc:sldChg chg="addSp delSp modSp new mod">
        <pc:chgData name="Vignesh Kumar" userId="d2a151a06cf16fa7" providerId="LiveId" clId="{FA248216-EF8E-4DD2-A4C1-4D2291850236}" dt="2022-01-13T07:13:05.876" v="1074" actId="1076"/>
        <pc:sldMkLst>
          <pc:docMk/>
          <pc:sldMk cId="1012707856" sldId="297"/>
        </pc:sldMkLst>
        <pc:spChg chg="mod">
          <ac:chgData name="Vignesh Kumar" userId="d2a151a06cf16fa7" providerId="LiveId" clId="{FA248216-EF8E-4DD2-A4C1-4D2291850236}" dt="2022-01-13T07:00:25.589" v="438" actId="20577"/>
          <ac:spMkLst>
            <pc:docMk/>
            <pc:sldMk cId="1012707856" sldId="297"/>
            <ac:spMk id="2" creationId="{E0E3B594-793A-4A0A-9FA6-17005C0ADA72}"/>
          </ac:spMkLst>
        </pc:spChg>
        <pc:spChg chg="add del mod">
          <ac:chgData name="Vignesh Kumar" userId="d2a151a06cf16fa7" providerId="LiveId" clId="{FA248216-EF8E-4DD2-A4C1-4D2291850236}" dt="2022-01-13T07:03:44.029" v="441" actId="478"/>
          <ac:spMkLst>
            <pc:docMk/>
            <pc:sldMk cId="1012707856" sldId="297"/>
            <ac:spMk id="3" creationId="{B14F225A-18EB-4D47-8926-8AD7F9175DA2}"/>
          </ac:spMkLst>
        </pc:spChg>
        <pc:spChg chg="add mod">
          <ac:chgData name="Vignesh Kumar" userId="d2a151a06cf16fa7" providerId="LiveId" clId="{FA248216-EF8E-4DD2-A4C1-4D2291850236}" dt="2022-01-13T07:07:55.052" v="676" actId="14100"/>
          <ac:spMkLst>
            <pc:docMk/>
            <pc:sldMk cId="1012707856" sldId="297"/>
            <ac:spMk id="4" creationId="{C9C684CD-60DA-4302-B7A7-9E4C3CE50E2A}"/>
          </ac:spMkLst>
        </pc:spChg>
        <pc:spChg chg="add mod">
          <ac:chgData name="Vignesh Kumar" userId="d2a151a06cf16fa7" providerId="LiveId" clId="{FA248216-EF8E-4DD2-A4C1-4D2291850236}" dt="2022-01-13T07:04:58.620" v="462" actId="122"/>
          <ac:spMkLst>
            <pc:docMk/>
            <pc:sldMk cId="1012707856" sldId="297"/>
            <ac:spMk id="5" creationId="{7117EFF4-E038-4B9E-9C68-EDCCC2F0DA2E}"/>
          </ac:spMkLst>
        </pc:spChg>
        <pc:spChg chg="add mod">
          <ac:chgData name="Vignesh Kumar" userId="d2a151a06cf16fa7" providerId="LiveId" clId="{FA248216-EF8E-4DD2-A4C1-4D2291850236}" dt="2022-01-13T07:04:58.620" v="462" actId="122"/>
          <ac:spMkLst>
            <pc:docMk/>
            <pc:sldMk cId="1012707856" sldId="297"/>
            <ac:spMk id="6" creationId="{BF948B1B-39D8-40F8-9F26-A78C5FA5FD04}"/>
          </ac:spMkLst>
        </pc:spChg>
        <pc:spChg chg="add mod">
          <ac:chgData name="Vignesh Kumar" userId="d2a151a06cf16fa7" providerId="LiveId" clId="{FA248216-EF8E-4DD2-A4C1-4D2291850236}" dt="2022-01-13T07:08:06.579" v="690" actId="20577"/>
          <ac:spMkLst>
            <pc:docMk/>
            <pc:sldMk cId="1012707856" sldId="297"/>
            <ac:spMk id="7" creationId="{FBC1A5FE-8328-4D62-9EBE-8BC9083F216A}"/>
          </ac:spMkLst>
        </pc:spChg>
        <pc:spChg chg="add mod">
          <ac:chgData name="Vignesh Kumar" userId="d2a151a06cf16fa7" providerId="LiveId" clId="{FA248216-EF8E-4DD2-A4C1-4D2291850236}" dt="2022-01-13T07:09:20.199" v="719" actId="20577"/>
          <ac:spMkLst>
            <pc:docMk/>
            <pc:sldMk cId="1012707856" sldId="297"/>
            <ac:spMk id="9" creationId="{6755E6AC-7509-4BE0-B9DC-C3D645B7986C}"/>
          </ac:spMkLst>
        </pc:spChg>
        <pc:spChg chg="del mod">
          <ac:chgData name="Vignesh Kumar" userId="d2a151a06cf16fa7" providerId="LiveId" clId="{FA248216-EF8E-4DD2-A4C1-4D2291850236}" dt="2022-01-13T07:06:46.841" v="610" actId="478"/>
          <ac:spMkLst>
            <pc:docMk/>
            <pc:sldMk cId="1012707856" sldId="297"/>
            <ac:spMk id="11" creationId="{FD54C8B4-64A3-48CF-BA6C-D1959FB8E92A}"/>
          </ac:spMkLst>
        </pc:spChg>
        <pc:spChg chg="mod">
          <ac:chgData name="Vignesh Kumar" userId="d2a151a06cf16fa7" providerId="LiveId" clId="{FA248216-EF8E-4DD2-A4C1-4D2291850236}" dt="2022-01-13T07:12:46.943" v="1071" actId="122"/>
          <ac:spMkLst>
            <pc:docMk/>
            <pc:sldMk cId="1012707856" sldId="297"/>
            <ac:spMk id="12" creationId="{F4BA8F66-3678-4CF2-BF3F-CD0C260887B9}"/>
          </ac:spMkLst>
        </pc:spChg>
        <pc:spChg chg="mod">
          <ac:chgData name="Vignesh Kumar" userId="d2a151a06cf16fa7" providerId="LiveId" clId="{FA248216-EF8E-4DD2-A4C1-4D2291850236}" dt="2022-01-13T07:12:44.861" v="1070" actId="1076"/>
          <ac:spMkLst>
            <pc:docMk/>
            <pc:sldMk cId="1012707856" sldId="297"/>
            <ac:spMk id="13" creationId="{B9B28212-9360-4B3C-847B-6FDE3F22D8E8}"/>
          </ac:spMkLst>
        </pc:spChg>
        <pc:spChg chg="del mod">
          <ac:chgData name="Vignesh Kumar" userId="d2a151a06cf16fa7" providerId="LiveId" clId="{FA248216-EF8E-4DD2-A4C1-4D2291850236}" dt="2022-01-13T07:08:10.778" v="691" actId="478"/>
          <ac:spMkLst>
            <pc:docMk/>
            <pc:sldMk cId="1012707856" sldId="297"/>
            <ac:spMk id="14" creationId="{5D3FEC31-5955-4C97-ADEF-B1C572EA7519}"/>
          </ac:spMkLst>
        </pc:spChg>
        <pc:spChg chg="del mod">
          <ac:chgData name="Vignesh Kumar" userId="d2a151a06cf16fa7" providerId="LiveId" clId="{FA248216-EF8E-4DD2-A4C1-4D2291850236}" dt="2022-01-13T07:09:23.539" v="720" actId="478"/>
          <ac:spMkLst>
            <pc:docMk/>
            <pc:sldMk cId="1012707856" sldId="297"/>
            <ac:spMk id="15" creationId="{A8411F22-DFD0-4FBE-866A-19F13B8C98C4}"/>
          </ac:spMkLst>
        </pc:spChg>
        <pc:spChg chg="mod">
          <ac:chgData name="Vignesh Kumar" userId="d2a151a06cf16fa7" providerId="LiveId" clId="{FA248216-EF8E-4DD2-A4C1-4D2291850236}" dt="2022-01-13T07:03:39.715" v="440" actId="1076"/>
          <ac:spMkLst>
            <pc:docMk/>
            <pc:sldMk cId="1012707856" sldId="297"/>
            <ac:spMk id="17" creationId="{0A7DD3FE-7F2E-40EE-B04A-0E56318C0EB8}"/>
          </ac:spMkLst>
        </pc:spChg>
        <pc:spChg chg="mod">
          <ac:chgData name="Vignesh Kumar" userId="d2a151a06cf16fa7" providerId="LiveId" clId="{FA248216-EF8E-4DD2-A4C1-4D2291850236}" dt="2022-01-13T07:03:39.715" v="440" actId="1076"/>
          <ac:spMkLst>
            <pc:docMk/>
            <pc:sldMk cId="1012707856" sldId="297"/>
            <ac:spMk id="18" creationId="{8623C67F-93B3-4CF0-AF09-1A1FF38CD6E5}"/>
          </ac:spMkLst>
        </pc:spChg>
        <pc:spChg chg="mod">
          <ac:chgData name="Vignesh Kumar" userId="d2a151a06cf16fa7" providerId="LiveId" clId="{FA248216-EF8E-4DD2-A4C1-4D2291850236}" dt="2022-01-13T07:03:39.715" v="440" actId="1076"/>
          <ac:spMkLst>
            <pc:docMk/>
            <pc:sldMk cId="1012707856" sldId="297"/>
            <ac:spMk id="19" creationId="{01A0FD67-85FD-4FF4-B3B7-29C486109AA5}"/>
          </ac:spMkLst>
        </pc:spChg>
        <pc:spChg chg="mod">
          <ac:chgData name="Vignesh Kumar" userId="d2a151a06cf16fa7" providerId="LiveId" clId="{FA248216-EF8E-4DD2-A4C1-4D2291850236}" dt="2022-01-13T07:03:39.715" v="440" actId="1076"/>
          <ac:spMkLst>
            <pc:docMk/>
            <pc:sldMk cId="1012707856" sldId="297"/>
            <ac:spMk id="20" creationId="{8B6A9820-3389-4CE3-A005-2F8FA0C3B7B2}"/>
          </ac:spMkLst>
        </pc:spChg>
        <pc:spChg chg="mod">
          <ac:chgData name="Vignesh Kumar" userId="d2a151a06cf16fa7" providerId="LiveId" clId="{FA248216-EF8E-4DD2-A4C1-4D2291850236}" dt="2022-01-13T07:03:39.715" v="440" actId="1076"/>
          <ac:spMkLst>
            <pc:docMk/>
            <pc:sldMk cId="1012707856" sldId="297"/>
            <ac:spMk id="21" creationId="{91022208-03DC-4AE1-A986-0E4B15796FB2}"/>
          </ac:spMkLst>
        </pc:spChg>
        <pc:spChg chg="add mod">
          <ac:chgData name="Vignesh Kumar" userId="d2a151a06cf16fa7" providerId="LiveId" clId="{FA248216-EF8E-4DD2-A4C1-4D2291850236}" dt="2022-01-13T07:07:52.719" v="675" actId="1076"/>
          <ac:spMkLst>
            <pc:docMk/>
            <pc:sldMk cId="1012707856" sldId="297"/>
            <ac:spMk id="34" creationId="{1B136081-59CD-45D7-9A01-65CCC39C1D17}"/>
          </ac:spMkLst>
        </pc:spChg>
        <pc:spChg chg="add mod">
          <ac:chgData name="Vignesh Kumar" userId="d2a151a06cf16fa7" providerId="LiveId" clId="{FA248216-EF8E-4DD2-A4C1-4D2291850236}" dt="2022-01-13T07:12:57.229" v="1072" actId="1076"/>
          <ac:spMkLst>
            <pc:docMk/>
            <pc:sldMk cId="1012707856" sldId="297"/>
            <ac:spMk id="35" creationId="{997A91C1-7198-4DDC-AD99-1C4F2A520F53}"/>
          </ac:spMkLst>
        </pc:spChg>
        <pc:spChg chg="add mod">
          <ac:chgData name="Vignesh Kumar" userId="d2a151a06cf16fa7" providerId="LiveId" clId="{FA248216-EF8E-4DD2-A4C1-4D2291850236}" dt="2022-01-13T07:13:05.876" v="1074" actId="1076"/>
          <ac:spMkLst>
            <pc:docMk/>
            <pc:sldMk cId="1012707856" sldId="297"/>
            <ac:spMk id="36" creationId="{C97E898A-7FDF-4545-96F4-AC35DD1011A7}"/>
          </ac:spMkLst>
        </pc:spChg>
        <pc:grpChg chg="add mod">
          <ac:chgData name="Vignesh Kumar" userId="d2a151a06cf16fa7" providerId="LiveId" clId="{FA248216-EF8E-4DD2-A4C1-4D2291850236}" dt="2022-01-13T07:04:24.699" v="455" actId="1076"/>
          <ac:grpSpMkLst>
            <pc:docMk/>
            <pc:sldMk cId="1012707856" sldId="297"/>
            <ac:grpSpMk id="10" creationId="{B100BD6A-246F-4FB1-AC91-FE9EE715E1E0}"/>
          </ac:grpSpMkLst>
        </pc:grpChg>
        <pc:grpChg chg="add del mod">
          <ac:chgData name="Vignesh Kumar" userId="d2a151a06cf16fa7" providerId="LiveId" clId="{FA248216-EF8E-4DD2-A4C1-4D2291850236}" dt="2022-01-13T07:04:15.149" v="454" actId="478"/>
          <ac:grpSpMkLst>
            <pc:docMk/>
            <pc:sldMk cId="1012707856" sldId="297"/>
            <ac:grpSpMk id="16" creationId="{4990593B-3F4E-41E0-AA86-A01BB6166E1B}"/>
          </ac:grpSpMkLst>
        </pc:grpChg>
        <pc:picChg chg="add del mod">
          <ac:chgData name="Vignesh Kumar" userId="d2a151a06cf16fa7" providerId="LiveId" clId="{FA248216-EF8E-4DD2-A4C1-4D2291850236}" dt="2022-01-13T07:03:51.930" v="443" actId="478"/>
          <ac:picMkLst>
            <pc:docMk/>
            <pc:sldMk cId="1012707856" sldId="297"/>
            <ac:picMk id="22" creationId="{98CAFE5E-A28D-448F-A2DB-08B364F413EA}"/>
          </ac:picMkLst>
        </pc:picChg>
        <pc:picChg chg="add del mod">
          <ac:chgData name="Vignesh Kumar" userId="d2a151a06cf16fa7" providerId="LiveId" clId="{FA248216-EF8E-4DD2-A4C1-4D2291850236}" dt="2022-01-13T07:03:52.898" v="444" actId="478"/>
          <ac:picMkLst>
            <pc:docMk/>
            <pc:sldMk cId="1012707856" sldId="297"/>
            <ac:picMk id="23" creationId="{DCBB5254-5A48-4534-AE70-AB20A425903C}"/>
          </ac:picMkLst>
        </pc:picChg>
        <pc:picChg chg="add del mod">
          <ac:chgData name="Vignesh Kumar" userId="d2a151a06cf16fa7" providerId="LiveId" clId="{FA248216-EF8E-4DD2-A4C1-4D2291850236}" dt="2022-01-13T07:03:53.392" v="445" actId="478"/>
          <ac:picMkLst>
            <pc:docMk/>
            <pc:sldMk cId="1012707856" sldId="297"/>
            <ac:picMk id="24" creationId="{3DD2AECE-9CF7-4690-889B-CAC16DB18D41}"/>
          </ac:picMkLst>
        </pc:picChg>
        <pc:picChg chg="add del mod">
          <ac:chgData name="Vignesh Kumar" userId="d2a151a06cf16fa7" providerId="LiveId" clId="{FA248216-EF8E-4DD2-A4C1-4D2291850236}" dt="2022-01-13T07:03:53.899" v="446" actId="478"/>
          <ac:picMkLst>
            <pc:docMk/>
            <pc:sldMk cId="1012707856" sldId="297"/>
            <ac:picMk id="25" creationId="{C927EDDB-B793-420A-BE16-0730368F427E}"/>
          </ac:picMkLst>
        </pc:picChg>
        <pc:picChg chg="add del mod">
          <ac:chgData name="Vignesh Kumar" userId="d2a151a06cf16fa7" providerId="LiveId" clId="{FA248216-EF8E-4DD2-A4C1-4D2291850236}" dt="2022-01-13T07:03:54.459" v="447" actId="478"/>
          <ac:picMkLst>
            <pc:docMk/>
            <pc:sldMk cId="1012707856" sldId="297"/>
            <ac:picMk id="26" creationId="{52490359-8A1D-41C8-BB89-42A3532F8B1E}"/>
          </ac:picMkLst>
        </pc:picChg>
        <pc:picChg chg="add del mod">
          <ac:chgData name="Vignesh Kumar" userId="d2a151a06cf16fa7" providerId="LiveId" clId="{FA248216-EF8E-4DD2-A4C1-4D2291850236}" dt="2022-01-13T07:03:54.961" v="448" actId="478"/>
          <ac:picMkLst>
            <pc:docMk/>
            <pc:sldMk cId="1012707856" sldId="297"/>
            <ac:picMk id="27" creationId="{6A15E39A-A180-4895-B1F4-03541CDD0998}"/>
          </ac:picMkLst>
        </pc:picChg>
        <pc:picChg chg="add del mod">
          <ac:chgData name="Vignesh Kumar" userId="d2a151a06cf16fa7" providerId="LiveId" clId="{FA248216-EF8E-4DD2-A4C1-4D2291850236}" dt="2022-01-13T07:03:55.479" v="449" actId="478"/>
          <ac:picMkLst>
            <pc:docMk/>
            <pc:sldMk cId="1012707856" sldId="297"/>
            <ac:picMk id="28" creationId="{8CCD6468-2119-4485-B68C-117C4BD99390}"/>
          </ac:picMkLst>
        </pc:picChg>
        <pc:picChg chg="add del mod">
          <ac:chgData name="Vignesh Kumar" userId="d2a151a06cf16fa7" providerId="LiveId" clId="{FA248216-EF8E-4DD2-A4C1-4D2291850236}" dt="2022-01-13T07:03:55.988" v="450" actId="478"/>
          <ac:picMkLst>
            <pc:docMk/>
            <pc:sldMk cId="1012707856" sldId="297"/>
            <ac:picMk id="29" creationId="{AB733B70-0ADB-4840-BB46-9ED0C314510D}"/>
          </ac:picMkLst>
        </pc:picChg>
        <pc:picChg chg="add del mod">
          <ac:chgData name="Vignesh Kumar" userId="d2a151a06cf16fa7" providerId="LiveId" clId="{FA248216-EF8E-4DD2-A4C1-4D2291850236}" dt="2022-01-13T07:03:56.699" v="451" actId="478"/>
          <ac:picMkLst>
            <pc:docMk/>
            <pc:sldMk cId="1012707856" sldId="297"/>
            <ac:picMk id="30" creationId="{EC90D164-A39D-42E2-BEAE-8DFAD810075C}"/>
          </ac:picMkLst>
        </pc:picChg>
        <pc:picChg chg="add del mod">
          <ac:chgData name="Vignesh Kumar" userId="d2a151a06cf16fa7" providerId="LiveId" clId="{FA248216-EF8E-4DD2-A4C1-4D2291850236}" dt="2022-01-13T07:03:57.183" v="452" actId="478"/>
          <ac:picMkLst>
            <pc:docMk/>
            <pc:sldMk cId="1012707856" sldId="297"/>
            <ac:picMk id="31" creationId="{41912500-2589-4689-9105-0545A9251068}"/>
          </ac:picMkLst>
        </pc:picChg>
        <pc:picChg chg="add del mod">
          <ac:chgData name="Vignesh Kumar" userId="d2a151a06cf16fa7" providerId="LiveId" clId="{FA248216-EF8E-4DD2-A4C1-4D2291850236}" dt="2022-01-13T07:04:03.929" v="453" actId="478"/>
          <ac:picMkLst>
            <pc:docMk/>
            <pc:sldMk cId="1012707856" sldId="297"/>
            <ac:picMk id="32" creationId="{9CC7CDFA-38A0-4636-A8BC-BB8EBC23BDD0}"/>
          </ac:picMkLst>
        </pc:picChg>
        <pc:cxnChg chg="add mod">
          <ac:chgData name="Vignesh Kumar" userId="d2a151a06cf16fa7" providerId="LiveId" clId="{FA248216-EF8E-4DD2-A4C1-4D2291850236}" dt="2022-01-13T07:07:58.958" v="677" actId="1076"/>
          <ac:cxnSpMkLst>
            <pc:docMk/>
            <pc:sldMk cId="1012707856" sldId="297"/>
            <ac:cxnSpMk id="8" creationId="{C24E8D28-C53E-4CA9-9314-094C8D585AE9}"/>
          </ac:cxnSpMkLst>
        </pc:cxnChg>
        <pc:cxnChg chg="add mod">
          <ac:chgData name="Vignesh Kumar" userId="d2a151a06cf16fa7" providerId="LiveId" clId="{FA248216-EF8E-4DD2-A4C1-4D2291850236}" dt="2022-01-13T07:08:34.453" v="701" actId="1076"/>
          <ac:cxnSpMkLst>
            <pc:docMk/>
            <pc:sldMk cId="1012707856" sldId="297"/>
            <ac:cxnSpMk id="33" creationId="{C2A41A37-B705-4F2C-B0B4-A1008222A43C}"/>
          </ac:cxnSpMkLst>
        </pc:cxnChg>
      </pc:sldChg>
      <pc:sldChg chg="add del">
        <pc:chgData name="Vignesh Kumar" userId="d2a151a06cf16fa7" providerId="LiveId" clId="{FA248216-EF8E-4DD2-A4C1-4D2291850236}" dt="2022-01-13T07:00:10.509" v="410" actId="2890"/>
        <pc:sldMkLst>
          <pc:docMk/>
          <pc:sldMk cId="1158489876" sldId="298"/>
        </pc:sldMkLst>
      </pc:sldChg>
      <pc:sldMasterChg chg="delSldLayout">
        <pc:chgData name="Vignesh Kumar" userId="d2a151a06cf16fa7" providerId="LiveId" clId="{FA248216-EF8E-4DD2-A4C1-4D2291850236}" dt="2022-01-13T07:00:11.603" v="411" actId="47"/>
        <pc:sldMasterMkLst>
          <pc:docMk/>
          <pc:sldMasterMk cId="0" sldId="2147483648"/>
        </pc:sldMasterMkLst>
        <pc:sldLayoutChg chg="del">
          <pc:chgData name="Vignesh Kumar" userId="d2a151a06cf16fa7" providerId="LiveId" clId="{FA248216-EF8E-4DD2-A4C1-4D2291850236}" dt="2022-01-13T07:00:11.603" v="411" actId="47"/>
          <pc:sldLayoutMkLst>
            <pc:docMk/>
            <pc:sldMasterMk cId="0" sldId="2147483648"/>
            <pc:sldLayoutMk cId="0" sldId="2147483654"/>
          </pc:sldLayoutMkLst>
        </pc:sldLayoutChg>
        <pc:sldLayoutChg chg="del">
          <pc:chgData name="Vignesh Kumar" userId="d2a151a06cf16fa7" providerId="LiveId" clId="{FA248216-EF8E-4DD2-A4C1-4D2291850236}" dt="2022-01-13T06:32:53.189" v="13" actId="2696"/>
          <pc:sldLayoutMkLst>
            <pc:docMk/>
            <pc:sldMasterMk cId="0" sldId="2147483648"/>
            <pc:sldLayoutMk cId="0" sldId="2147483661"/>
          </pc:sldLayoutMkLst>
        </pc:sldLayoutChg>
        <pc:sldLayoutChg chg="del">
          <pc:chgData name="Vignesh Kumar" userId="d2a151a06cf16fa7" providerId="LiveId" clId="{FA248216-EF8E-4DD2-A4C1-4D2291850236}" dt="2022-01-13T06:32:50.449" v="12" actId="2696"/>
          <pc:sldLayoutMkLst>
            <pc:docMk/>
            <pc:sldMasterMk cId="0" sldId="2147483648"/>
            <pc:sldLayoutMk cId="0" sldId="2147483665"/>
          </pc:sldLayoutMkLst>
        </pc:sldLayoutChg>
        <pc:sldLayoutChg chg="del">
          <pc:chgData name="Vignesh Kumar" userId="d2a151a06cf16fa7" providerId="LiveId" clId="{FA248216-EF8E-4DD2-A4C1-4D2291850236}" dt="2022-01-13T06:32:47.649" v="11" actId="2696"/>
          <pc:sldLayoutMkLst>
            <pc:docMk/>
            <pc:sldMasterMk cId="0" sldId="2147483648"/>
            <pc:sldLayoutMk cId="0" sldId="2147483673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400" dirty="0"/>
              <a:t>Feature</a:t>
            </a:r>
            <a:r>
              <a:rPr lang="en-IN" sz="1400" baseline="0" dirty="0"/>
              <a:t> Distribution</a:t>
            </a:r>
            <a:endParaRPr lang="en-IN" sz="1400" dirty="0"/>
          </a:p>
        </c:rich>
      </c:tx>
      <c:layout>
        <c:manualLayout>
          <c:xMode val="edge"/>
          <c:yMode val="edge"/>
          <c:x val="0.41136288766944701"/>
          <c:y val="0.11874999999999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eading</c:v>
                </c:pt>
              </c:strCache>
            </c:strRef>
          </c:tx>
          <c:spPr>
            <a:solidFill>
              <a:schemeClr val="accent1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Percentage Capital</c:v>
                </c:pt>
                <c:pt idx="1">
                  <c:v>Word Length</c:v>
                </c:pt>
                <c:pt idx="2">
                  <c:v>Starts with integer</c:v>
                </c:pt>
                <c:pt idx="3">
                  <c:v>Stop Words</c:v>
                </c:pt>
                <c:pt idx="4">
                  <c:v>Ends with dot</c:v>
                </c:pt>
                <c:pt idx="5">
                  <c:v>Starts with decimal</c:v>
                </c:pt>
                <c:pt idx="6">
                  <c:v>Contains "Table"</c:v>
                </c:pt>
                <c:pt idx="7">
                  <c:v>Has Image</c:v>
                </c:pt>
                <c:pt idx="8">
                  <c:v>Contains "%"</c:v>
                </c:pt>
                <c:pt idx="9">
                  <c:v>Is a table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0</c:v>
                </c:pt>
                <c:pt idx="1">
                  <c:v>3.7</c:v>
                </c:pt>
                <c:pt idx="2">
                  <c:v>90.9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47-4493-9276-E12797E1003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b-heading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Percentage Capital</c:v>
                </c:pt>
                <c:pt idx="1">
                  <c:v>Word Length</c:v>
                </c:pt>
                <c:pt idx="2">
                  <c:v>Starts with integer</c:v>
                </c:pt>
                <c:pt idx="3">
                  <c:v>Stop Words</c:v>
                </c:pt>
                <c:pt idx="4">
                  <c:v>Ends with dot</c:v>
                </c:pt>
                <c:pt idx="5">
                  <c:v>Starts with decimal</c:v>
                </c:pt>
                <c:pt idx="6">
                  <c:v>Contains "Table"</c:v>
                </c:pt>
                <c:pt idx="7">
                  <c:v>Has Image</c:v>
                </c:pt>
                <c:pt idx="8">
                  <c:v>Contains "%"</c:v>
                </c:pt>
                <c:pt idx="9">
                  <c:v>Is a table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7.9</c:v>
                </c:pt>
                <c:pt idx="1">
                  <c:v>3.5</c:v>
                </c:pt>
                <c:pt idx="2">
                  <c:v>0</c:v>
                </c:pt>
                <c:pt idx="3">
                  <c:v>0.4</c:v>
                </c:pt>
                <c:pt idx="4">
                  <c:v>0</c:v>
                </c:pt>
                <c:pt idx="5">
                  <c:v>21.8</c:v>
                </c:pt>
                <c:pt idx="6">
                  <c:v>0</c:v>
                </c:pt>
                <c:pt idx="7">
                  <c:v>0</c:v>
                </c:pt>
                <c:pt idx="8">
                  <c:v>1.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47-4493-9276-E12797E1003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ction</c:v>
                </c:pt>
              </c:strCache>
            </c:strRef>
          </c:tx>
          <c:spPr>
            <a:solidFill>
              <a:schemeClr val="accent1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Percentage Capital</c:v>
                </c:pt>
                <c:pt idx="1">
                  <c:v>Word Length</c:v>
                </c:pt>
                <c:pt idx="2">
                  <c:v>Starts with integer</c:v>
                </c:pt>
                <c:pt idx="3">
                  <c:v>Stop Words</c:v>
                </c:pt>
                <c:pt idx="4">
                  <c:v>Ends with dot</c:v>
                </c:pt>
                <c:pt idx="5">
                  <c:v>Starts with decimal</c:v>
                </c:pt>
                <c:pt idx="6">
                  <c:v>Contains "Table"</c:v>
                </c:pt>
                <c:pt idx="7">
                  <c:v>Has Image</c:v>
                </c:pt>
                <c:pt idx="8">
                  <c:v>Contains "%"</c:v>
                </c:pt>
                <c:pt idx="9">
                  <c:v>Is a table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8.5</c:v>
                </c:pt>
                <c:pt idx="1">
                  <c:v>41.2</c:v>
                </c:pt>
                <c:pt idx="2">
                  <c:v>3.2</c:v>
                </c:pt>
                <c:pt idx="3">
                  <c:v>5.9</c:v>
                </c:pt>
                <c:pt idx="4">
                  <c:v>66.099999999999994</c:v>
                </c:pt>
                <c:pt idx="5">
                  <c:v>0.4</c:v>
                </c:pt>
                <c:pt idx="6">
                  <c:v>12.4</c:v>
                </c:pt>
                <c:pt idx="7">
                  <c:v>3.2</c:v>
                </c:pt>
                <c:pt idx="8">
                  <c:v>19.5</c:v>
                </c:pt>
                <c:pt idx="9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47-4493-9276-E12797E100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26733896"/>
        <c:axId val="526735496"/>
      </c:barChart>
      <c:catAx>
        <c:axId val="526733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6735496"/>
        <c:crosses val="autoZero"/>
        <c:auto val="1"/>
        <c:lblAlgn val="ctr"/>
        <c:lblOffset val="100"/>
        <c:noMultiLvlLbl val="0"/>
      </c:catAx>
      <c:valAx>
        <c:axId val="526735496"/>
        <c:scaling>
          <c:orientation val="minMax"/>
          <c:max val="100"/>
        </c:scaling>
        <c:delete val="1"/>
        <c:axPos val="l"/>
        <c:numFmt formatCode="General" sourceLinked="1"/>
        <c:majorTickMark val="out"/>
        <c:minorTickMark val="none"/>
        <c:tickLblPos val="nextTo"/>
        <c:crossAx val="52673389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8E2-4EEF-BDA1-DA13D9F3BBDE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E2-4EEF-BDA1-DA13D9F3BBDE}"/>
              </c:ext>
            </c:extLst>
          </c:dPt>
          <c:dPt>
            <c:idx val="2"/>
            <c:bubble3D val="0"/>
            <c:spPr>
              <a:solidFill>
                <a:schemeClr val="tx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8E2-4EEF-BDA1-DA13D9F3BBDE}"/>
              </c:ext>
            </c:extLst>
          </c:dPt>
          <c:cat>
            <c:strRef>
              <c:f>Sheet1!$A$2:$A$4</c:f>
              <c:strCache>
                <c:ptCount val="3"/>
                <c:pt idx="0">
                  <c:v>Heading </c:v>
                </c:pt>
                <c:pt idx="1">
                  <c:v>Sub-Heading</c:v>
                </c:pt>
                <c:pt idx="2">
                  <c:v>Sectio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</c:v>
                </c:pt>
                <c:pt idx="1">
                  <c:v>25</c:v>
                </c:pt>
                <c:pt idx="2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8E2-4EEF-BDA1-DA13D9F3BB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pPr>
            <a:r>
              <a:rPr lang="en-US" sz="1200" dirty="0">
                <a:latin typeface="Montserrat" pitchFamily="2" charset="0"/>
              </a:rPr>
              <a:t>Performance</a:t>
            </a:r>
            <a:r>
              <a:rPr lang="en-US" sz="1200" baseline="0" dirty="0">
                <a:latin typeface="Montserrat" pitchFamily="2" charset="0"/>
              </a:rPr>
              <a:t> of different classifiers for .docx/ .doc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Montserrat" pitchFamily="2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curacy 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andom Forest with tf-idf</c:v>
                </c:pt>
                <c:pt idx="1">
                  <c:v>SVC with tf-idf</c:v>
                </c:pt>
                <c:pt idx="2">
                  <c:v>Naïve Bayes</c:v>
                </c:pt>
                <c:pt idx="3">
                  <c:v>Logistic Regression</c:v>
                </c:pt>
                <c:pt idx="4">
                  <c:v>Random Forest  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2.6</c:v>
                </c:pt>
                <c:pt idx="1">
                  <c:v>82.6</c:v>
                </c:pt>
                <c:pt idx="2">
                  <c:v>91.9</c:v>
                </c:pt>
                <c:pt idx="3">
                  <c:v>93.9</c:v>
                </c:pt>
                <c:pt idx="4">
                  <c:v>9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55-47B8-A14A-37FC732E0E9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4"/>
        <c:overlap val="-27"/>
        <c:axId val="526703816"/>
        <c:axId val="526704456"/>
      </c:barChart>
      <c:catAx>
        <c:axId val="5267038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pPr>
            <a:endParaRPr lang="en-US"/>
          </a:p>
        </c:txPr>
        <c:crossAx val="526704456"/>
        <c:crosses val="autoZero"/>
        <c:auto val="1"/>
        <c:lblAlgn val="ctr"/>
        <c:lblOffset val="100"/>
        <c:noMultiLvlLbl val="0"/>
      </c:catAx>
      <c:valAx>
        <c:axId val="5267044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26703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pPr>
            <a:r>
              <a:rPr lang="en-US" sz="1200" dirty="0">
                <a:latin typeface="Montserrat" pitchFamily="2" charset="0"/>
              </a:rPr>
              <a:t>Performance</a:t>
            </a:r>
            <a:r>
              <a:rPr lang="en-US" sz="1200" baseline="0" dirty="0">
                <a:latin typeface="Montserrat" pitchFamily="2" charset="0"/>
              </a:rPr>
              <a:t> of different classifiers for .txt fil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Montserrat" pitchFamily="2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curacy 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Naïve Bayes</c:v>
                </c:pt>
                <c:pt idx="1">
                  <c:v>Random Forest   </c:v>
                </c:pt>
                <c:pt idx="2">
                  <c:v>Logistic Regression</c:v>
                </c:pt>
                <c:pt idx="3">
                  <c:v>SVC   </c:v>
                </c:pt>
                <c:pt idx="4">
                  <c:v>RF with tf-idf</c:v>
                </c:pt>
                <c:pt idx="5">
                  <c:v>SVC with tf-id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8.1</c:v>
                </c:pt>
                <c:pt idx="1">
                  <c:v>84.6</c:v>
                </c:pt>
                <c:pt idx="2">
                  <c:v>88.9</c:v>
                </c:pt>
                <c:pt idx="3">
                  <c:v>89.1</c:v>
                </c:pt>
                <c:pt idx="4">
                  <c:v>90.1</c:v>
                </c:pt>
                <c:pt idx="5">
                  <c:v>9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2A-4F61-A914-96C2EE97C3D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4"/>
        <c:overlap val="-27"/>
        <c:axId val="526703816"/>
        <c:axId val="526704456"/>
      </c:barChart>
      <c:catAx>
        <c:axId val="526703816"/>
        <c:scaling>
          <c:orientation val="minMax"/>
        </c:scaling>
        <c:delete val="0"/>
        <c:axPos val="b"/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pPr>
            <a:endParaRPr lang="en-US"/>
          </a:p>
        </c:txPr>
        <c:crossAx val="526704456"/>
        <c:crosses val="autoZero"/>
        <c:auto val="1"/>
        <c:lblAlgn val="ctr"/>
        <c:lblOffset val="100"/>
        <c:noMultiLvlLbl val="0"/>
      </c:catAx>
      <c:valAx>
        <c:axId val="5267044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26703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6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eature</a:t>
            </a:r>
            <a:r>
              <a:rPr lang="en-US" sz="1400" b="1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mportance</a:t>
            </a:r>
            <a:endParaRPr lang="en-US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>
        <c:manualLayout>
          <c:xMode val="edge"/>
          <c:yMode val="edge"/>
          <c:x val="0.30704642094856682"/>
          <c:y val="4.25737884780258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86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7056081809955138"/>
          <c:y val="0.20305854212325233"/>
          <c:w val="0.61361006703597165"/>
          <c:h val="0.7404007228471922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2CA-4F6C-89E0-1FD71F8DB8F8}"/>
              </c:ext>
            </c:extLst>
          </c:dPt>
          <c:dPt>
            <c:idx val="5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2CA-4F6C-89E0-1FD71F8DB8F8}"/>
              </c:ext>
            </c:extLst>
          </c:dPt>
          <c:dPt>
            <c:idx val="6"/>
            <c:invertIfNegative val="0"/>
            <c:bubble3D val="0"/>
            <c:spPr>
              <a:solidFill>
                <a:schemeClr val="bg2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2CA-4F6C-89E0-1FD71F8DB8F8}"/>
              </c:ext>
            </c:extLst>
          </c:dPt>
          <c:dPt>
            <c:idx val="7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2CA-4F6C-89E0-1FD71F8DB8F8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>
                  <a:lumMod val="9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2CA-4F6C-89E0-1FD71F8DB8F8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2CA-4F6C-89E0-1FD71F8DB8F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ontains_table</c:v>
                </c:pt>
                <c:pt idx="1">
                  <c:v>contains_percentage</c:v>
                </c:pt>
                <c:pt idx="2">
                  <c:v>contains_image</c:v>
                </c:pt>
                <c:pt idx="3">
                  <c:v>has_table</c:v>
                </c:pt>
                <c:pt idx="4">
                  <c:v>starts_decimal</c:v>
                </c:pt>
                <c:pt idx="5">
                  <c:v>endswith_dot</c:v>
                </c:pt>
                <c:pt idx="6">
                  <c:v>stopwords</c:v>
                </c:pt>
                <c:pt idx="7">
                  <c:v>starts_integer</c:v>
                </c:pt>
                <c:pt idx="8">
                  <c:v>word_length</c:v>
                </c:pt>
                <c:pt idx="9">
                  <c:v>percentage_capital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2E-3</c:v>
                </c:pt>
                <c:pt idx="1">
                  <c:v>6.0000000000000001E-3</c:v>
                </c:pt>
                <c:pt idx="2">
                  <c:v>8.9999999999999993E-3</c:v>
                </c:pt>
                <c:pt idx="3">
                  <c:v>0.01</c:v>
                </c:pt>
                <c:pt idx="4">
                  <c:v>1.2999999999999999E-2</c:v>
                </c:pt>
                <c:pt idx="5">
                  <c:v>7.4999999999999997E-2</c:v>
                </c:pt>
                <c:pt idx="6">
                  <c:v>0.09</c:v>
                </c:pt>
                <c:pt idx="7">
                  <c:v>0.154</c:v>
                </c:pt>
                <c:pt idx="8">
                  <c:v>0.248</c:v>
                </c:pt>
                <c:pt idx="9">
                  <c:v>0.38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2CA-4F6C-89E0-1FD71F8DB8F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666336712"/>
        <c:axId val="666338632"/>
      </c:barChart>
      <c:catAx>
        <c:axId val="66633671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666338632"/>
        <c:crosses val="autoZero"/>
        <c:auto val="1"/>
        <c:lblAlgn val="ctr"/>
        <c:lblOffset val="100"/>
        <c:noMultiLvlLbl val="0"/>
      </c:catAx>
      <c:valAx>
        <c:axId val="6663386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66336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With copious amount of documents available in electronic formats, there is a dire need for some sort of automation to simplify search and quantifying semantic details of these documents. </a:t>
            </a:r>
          </a:p>
          <a:p>
            <a:r>
              <a:rPr lang="en-IN" dirty="0"/>
              <a:t>The key challenge is that most of these documents lack uniform structure which makes this automation process difficult.</a:t>
            </a:r>
          </a:p>
          <a:p>
            <a:r>
              <a:rPr lang="en-IN" dirty="0"/>
              <a:t>In this presentation, we’ll discuss a supervised learning approach for identifying headings, subheadings and sections in a document. </a:t>
            </a:r>
          </a:p>
          <a:p>
            <a:r>
              <a:rPr lang="en-IN" dirty="0"/>
              <a:t>We first separate documents into blocks of texts using new line separator and then use a classifier to predict whether a block of text is a heading, subheading or a section.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Win32com.dispatch() – basically could be used to automate any windows application. We open word and convert it into docx. 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Cover class imbalances </a:t>
            </a:r>
            <a:r>
              <a:rPr lang="en-IN"/>
              <a:t>here itself.</a:t>
            </a:r>
            <a:endParaRPr lang="en-IN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Supporting Slide 1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2714550" y="2543963"/>
            <a:ext cx="3714900" cy="6489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None/>
              <a:defRPr sz="5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 idx="2" hasCustomPrompt="1"/>
          </p:nvPr>
        </p:nvSpPr>
        <p:spPr>
          <a:xfrm>
            <a:off x="3746550" y="1478925"/>
            <a:ext cx="1650900" cy="978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7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9pPr>
          </a:lstStyle>
          <a:p>
            <a:r>
              <a:t>xx%</a:t>
            </a:r>
          </a:p>
        </p:txBody>
      </p:sp>
      <p:sp>
        <p:nvSpPr>
          <p:cNvPr id="18" name="Google Shape;18;p3"/>
          <p:cNvSpPr txBox="1">
            <a:spLocks noGrp="1"/>
          </p:cNvSpPr>
          <p:nvPr>
            <p:ph type="subTitle" idx="1"/>
          </p:nvPr>
        </p:nvSpPr>
        <p:spPr>
          <a:xfrm>
            <a:off x="2291400" y="3279625"/>
            <a:ext cx="4561200" cy="393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9" name="Google Shape;19;p3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" name="Google Shape;20;p3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1" name="Google Shape;21;p3"/>
          <p:cNvCxnSpPr/>
          <p:nvPr/>
        </p:nvCxnSpPr>
        <p:spPr>
          <a:xfrm flipH="1">
            <a:off x="7948925" y="3979775"/>
            <a:ext cx="1378500" cy="12363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" name="Google Shape;22;p3"/>
          <p:cNvCxnSpPr/>
          <p:nvPr/>
        </p:nvCxnSpPr>
        <p:spPr>
          <a:xfrm flipH="1">
            <a:off x="-112875" y="-88700"/>
            <a:ext cx="1418700" cy="10644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_ONLY_1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6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cxnSp>
        <p:nvCxnSpPr>
          <p:cNvPr id="101" name="Google Shape;101;p16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2" name="Google Shape;102;p16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3" name="Google Shape;103;p16"/>
          <p:cNvCxnSpPr/>
          <p:nvPr/>
        </p:nvCxnSpPr>
        <p:spPr>
          <a:xfrm>
            <a:off x="7207350" y="-153175"/>
            <a:ext cx="2120400" cy="12738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SECTION_HEADER_1"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7"/>
          <p:cNvSpPr txBox="1">
            <a:spLocks noGrp="1"/>
          </p:cNvSpPr>
          <p:nvPr>
            <p:ph type="title"/>
          </p:nvPr>
        </p:nvSpPr>
        <p:spPr>
          <a:xfrm>
            <a:off x="4956100" y="2467375"/>
            <a:ext cx="2475300" cy="6489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500"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06" name="Google Shape;106;p17"/>
          <p:cNvSpPr txBox="1">
            <a:spLocks noGrp="1"/>
          </p:cNvSpPr>
          <p:nvPr>
            <p:ph type="title" idx="2" hasCustomPrompt="1"/>
          </p:nvPr>
        </p:nvSpPr>
        <p:spPr>
          <a:xfrm>
            <a:off x="4956100" y="1402325"/>
            <a:ext cx="1650900" cy="978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7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9pPr>
          </a:lstStyle>
          <a:p>
            <a:r>
              <a:t>xx%</a:t>
            </a:r>
          </a:p>
        </p:txBody>
      </p:sp>
      <p:sp>
        <p:nvSpPr>
          <p:cNvPr id="107" name="Google Shape;107;p17"/>
          <p:cNvSpPr txBox="1">
            <a:spLocks noGrp="1"/>
          </p:cNvSpPr>
          <p:nvPr>
            <p:ph type="subTitle" idx="1"/>
          </p:nvPr>
        </p:nvSpPr>
        <p:spPr>
          <a:xfrm>
            <a:off x="4956100" y="3116275"/>
            <a:ext cx="2475300" cy="62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08" name="Google Shape;108;p17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9" name="Google Shape;109;p17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0" name="Google Shape;110;p17"/>
          <p:cNvCxnSpPr/>
          <p:nvPr/>
        </p:nvCxnSpPr>
        <p:spPr>
          <a:xfrm>
            <a:off x="-209600" y="2402450"/>
            <a:ext cx="3144300" cy="27897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4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19"/>
          <p:cNvSpPr txBox="1">
            <a:spLocks noGrp="1"/>
          </p:cNvSpPr>
          <p:nvPr>
            <p:ph type="subTitle" idx="1"/>
          </p:nvPr>
        </p:nvSpPr>
        <p:spPr>
          <a:xfrm>
            <a:off x="3509000" y="2636125"/>
            <a:ext cx="2126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19" name="Google Shape;119;p19"/>
          <p:cNvSpPr txBox="1">
            <a:spLocks noGrp="1"/>
          </p:cNvSpPr>
          <p:nvPr>
            <p:ph type="subTitle" idx="2"/>
          </p:nvPr>
        </p:nvSpPr>
        <p:spPr>
          <a:xfrm>
            <a:off x="3509025" y="2976125"/>
            <a:ext cx="21261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19"/>
          <p:cNvSpPr txBox="1">
            <a:spLocks noGrp="1"/>
          </p:cNvSpPr>
          <p:nvPr>
            <p:ph type="subTitle" idx="3"/>
          </p:nvPr>
        </p:nvSpPr>
        <p:spPr>
          <a:xfrm>
            <a:off x="953025" y="2636125"/>
            <a:ext cx="2126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21" name="Google Shape;121;p19"/>
          <p:cNvSpPr txBox="1">
            <a:spLocks noGrp="1"/>
          </p:cNvSpPr>
          <p:nvPr>
            <p:ph type="subTitle" idx="4"/>
          </p:nvPr>
        </p:nvSpPr>
        <p:spPr>
          <a:xfrm>
            <a:off x="953125" y="2976125"/>
            <a:ext cx="21261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19"/>
          <p:cNvSpPr txBox="1">
            <a:spLocks noGrp="1"/>
          </p:cNvSpPr>
          <p:nvPr>
            <p:ph type="subTitle" idx="5"/>
          </p:nvPr>
        </p:nvSpPr>
        <p:spPr>
          <a:xfrm>
            <a:off x="6064875" y="2636125"/>
            <a:ext cx="2126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23" name="Google Shape;123;p19"/>
          <p:cNvSpPr txBox="1">
            <a:spLocks noGrp="1"/>
          </p:cNvSpPr>
          <p:nvPr>
            <p:ph type="subTitle" idx="6"/>
          </p:nvPr>
        </p:nvSpPr>
        <p:spPr>
          <a:xfrm>
            <a:off x="6064875" y="2976125"/>
            <a:ext cx="21261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19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6655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9pPr>
          </a:lstStyle>
          <a:p>
            <a:endParaRPr/>
          </a:p>
        </p:txBody>
      </p:sp>
      <p:cxnSp>
        <p:nvCxnSpPr>
          <p:cNvPr id="125" name="Google Shape;125;p19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26" name="Google Shape;126;p19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1">
  <p:cSld name="CUSTOM_4_2_1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0"/>
          <p:cNvSpPr txBox="1">
            <a:spLocks noGrp="1"/>
          </p:cNvSpPr>
          <p:nvPr>
            <p:ph type="subTitle" idx="1"/>
          </p:nvPr>
        </p:nvSpPr>
        <p:spPr>
          <a:xfrm>
            <a:off x="3718325" y="3391775"/>
            <a:ext cx="16428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29" name="Google Shape;129;p20"/>
          <p:cNvSpPr txBox="1">
            <a:spLocks noGrp="1"/>
          </p:cNvSpPr>
          <p:nvPr>
            <p:ph type="subTitle" idx="2"/>
          </p:nvPr>
        </p:nvSpPr>
        <p:spPr>
          <a:xfrm>
            <a:off x="3617675" y="3731775"/>
            <a:ext cx="1844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400">
                <a:solidFill>
                  <a:srgbClr val="02020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30" name="Google Shape;130;p20"/>
          <p:cNvSpPr txBox="1">
            <a:spLocks noGrp="1"/>
          </p:cNvSpPr>
          <p:nvPr>
            <p:ph type="subTitle" idx="3"/>
          </p:nvPr>
        </p:nvSpPr>
        <p:spPr>
          <a:xfrm>
            <a:off x="1328025" y="3391775"/>
            <a:ext cx="16428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31" name="Google Shape;131;p20"/>
          <p:cNvSpPr txBox="1">
            <a:spLocks noGrp="1"/>
          </p:cNvSpPr>
          <p:nvPr>
            <p:ph type="subTitle" idx="4"/>
          </p:nvPr>
        </p:nvSpPr>
        <p:spPr>
          <a:xfrm>
            <a:off x="1227426" y="3731775"/>
            <a:ext cx="1844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400">
                <a:solidFill>
                  <a:srgbClr val="02020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32" name="Google Shape;132;p20"/>
          <p:cNvSpPr txBox="1">
            <a:spLocks noGrp="1"/>
          </p:cNvSpPr>
          <p:nvPr>
            <p:ph type="subTitle" idx="5"/>
          </p:nvPr>
        </p:nvSpPr>
        <p:spPr>
          <a:xfrm>
            <a:off x="6108550" y="3391775"/>
            <a:ext cx="1643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33" name="Google Shape;133;p20"/>
          <p:cNvSpPr txBox="1">
            <a:spLocks noGrp="1"/>
          </p:cNvSpPr>
          <p:nvPr>
            <p:ph type="subTitle" idx="6"/>
          </p:nvPr>
        </p:nvSpPr>
        <p:spPr>
          <a:xfrm>
            <a:off x="6008050" y="3731775"/>
            <a:ext cx="1844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400">
                <a:solidFill>
                  <a:srgbClr val="02020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34" name="Google Shape;134;p20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3188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9pPr>
          </a:lstStyle>
          <a:p>
            <a:endParaRPr/>
          </a:p>
        </p:txBody>
      </p:sp>
      <p:cxnSp>
        <p:nvCxnSpPr>
          <p:cNvPr id="135" name="Google Shape;135;p20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36" name="Google Shape;136;p20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4_1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21"/>
          <p:cNvSpPr txBox="1">
            <a:spLocks noGrp="1"/>
          </p:cNvSpPr>
          <p:nvPr>
            <p:ph type="subTitle" idx="1"/>
          </p:nvPr>
        </p:nvSpPr>
        <p:spPr>
          <a:xfrm>
            <a:off x="3414050" y="1811988"/>
            <a:ext cx="23160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39" name="Google Shape;139;p21"/>
          <p:cNvSpPr txBox="1">
            <a:spLocks noGrp="1"/>
          </p:cNvSpPr>
          <p:nvPr>
            <p:ph type="subTitle" idx="2"/>
          </p:nvPr>
        </p:nvSpPr>
        <p:spPr>
          <a:xfrm>
            <a:off x="3564200" y="2152000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21"/>
          <p:cNvSpPr txBox="1">
            <a:spLocks noGrp="1"/>
          </p:cNvSpPr>
          <p:nvPr>
            <p:ph type="subTitle" idx="3"/>
          </p:nvPr>
        </p:nvSpPr>
        <p:spPr>
          <a:xfrm>
            <a:off x="705725" y="1811988"/>
            <a:ext cx="23160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41" name="Google Shape;141;p21"/>
          <p:cNvSpPr txBox="1">
            <a:spLocks noGrp="1"/>
          </p:cNvSpPr>
          <p:nvPr>
            <p:ph type="subTitle" idx="4"/>
          </p:nvPr>
        </p:nvSpPr>
        <p:spPr>
          <a:xfrm>
            <a:off x="855875" y="2152000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21"/>
          <p:cNvSpPr txBox="1">
            <a:spLocks noGrp="1"/>
          </p:cNvSpPr>
          <p:nvPr>
            <p:ph type="subTitle" idx="5"/>
          </p:nvPr>
        </p:nvSpPr>
        <p:spPr>
          <a:xfrm>
            <a:off x="6122325" y="1811988"/>
            <a:ext cx="23160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43" name="Google Shape;143;p21"/>
          <p:cNvSpPr txBox="1">
            <a:spLocks noGrp="1"/>
          </p:cNvSpPr>
          <p:nvPr>
            <p:ph type="subTitle" idx="6"/>
          </p:nvPr>
        </p:nvSpPr>
        <p:spPr>
          <a:xfrm>
            <a:off x="6272475" y="2152000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21"/>
          <p:cNvSpPr txBox="1">
            <a:spLocks noGrp="1"/>
          </p:cNvSpPr>
          <p:nvPr>
            <p:ph type="subTitle" idx="7"/>
          </p:nvPr>
        </p:nvSpPr>
        <p:spPr>
          <a:xfrm>
            <a:off x="3414050" y="3543463"/>
            <a:ext cx="23160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45" name="Google Shape;145;p21"/>
          <p:cNvSpPr txBox="1">
            <a:spLocks noGrp="1"/>
          </p:cNvSpPr>
          <p:nvPr>
            <p:ph type="subTitle" idx="8"/>
          </p:nvPr>
        </p:nvSpPr>
        <p:spPr>
          <a:xfrm>
            <a:off x="3564200" y="3883475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21"/>
          <p:cNvSpPr txBox="1">
            <a:spLocks noGrp="1"/>
          </p:cNvSpPr>
          <p:nvPr>
            <p:ph type="subTitle" idx="9"/>
          </p:nvPr>
        </p:nvSpPr>
        <p:spPr>
          <a:xfrm>
            <a:off x="705725" y="3543463"/>
            <a:ext cx="23160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47" name="Google Shape;147;p21"/>
          <p:cNvSpPr txBox="1">
            <a:spLocks noGrp="1"/>
          </p:cNvSpPr>
          <p:nvPr>
            <p:ph type="subTitle" idx="13"/>
          </p:nvPr>
        </p:nvSpPr>
        <p:spPr>
          <a:xfrm>
            <a:off x="855875" y="3883475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21"/>
          <p:cNvSpPr txBox="1">
            <a:spLocks noGrp="1"/>
          </p:cNvSpPr>
          <p:nvPr>
            <p:ph type="subTitle" idx="14"/>
          </p:nvPr>
        </p:nvSpPr>
        <p:spPr>
          <a:xfrm>
            <a:off x="6122325" y="3543463"/>
            <a:ext cx="23160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49" name="Google Shape;149;p21"/>
          <p:cNvSpPr txBox="1">
            <a:spLocks noGrp="1"/>
          </p:cNvSpPr>
          <p:nvPr>
            <p:ph type="subTitle" idx="15"/>
          </p:nvPr>
        </p:nvSpPr>
        <p:spPr>
          <a:xfrm>
            <a:off x="6272475" y="3883475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2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6080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9pPr>
          </a:lstStyle>
          <a:p>
            <a:endParaRPr/>
          </a:p>
        </p:txBody>
      </p:sp>
      <p:cxnSp>
        <p:nvCxnSpPr>
          <p:cNvPr id="151" name="Google Shape;151;p21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52" name="Google Shape;152;p21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CUSTOM_4_2_2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23"/>
          <p:cNvSpPr txBox="1">
            <a:spLocks noGrp="1"/>
          </p:cNvSpPr>
          <p:nvPr>
            <p:ph type="subTitle" idx="1"/>
          </p:nvPr>
        </p:nvSpPr>
        <p:spPr>
          <a:xfrm>
            <a:off x="3568125" y="2994600"/>
            <a:ext cx="20154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67" name="Google Shape;167;p23"/>
          <p:cNvSpPr txBox="1">
            <a:spLocks noGrp="1"/>
          </p:cNvSpPr>
          <p:nvPr>
            <p:ph type="subTitle" idx="2"/>
          </p:nvPr>
        </p:nvSpPr>
        <p:spPr>
          <a:xfrm>
            <a:off x="3568125" y="3334600"/>
            <a:ext cx="20154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23"/>
          <p:cNvSpPr txBox="1">
            <a:spLocks noGrp="1"/>
          </p:cNvSpPr>
          <p:nvPr>
            <p:ph type="subTitle" idx="3"/>
          </p:nvPr>
        </p:nvSpPr>
        <p:spPr>
          <a:xfrm>
            <a:off x="1088350" y="2994600"/>
            <a:ext cx="20154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69" name="Google Shape;169;p23"/>
          <p:cNvSpPr txBox="1">
            <a:spLocks noGrp="1"/>
          </p:cNvSpPr>
          <p:nvPr>
            <p:ph type="subTitle" idx="4"/>
          </p:nvPr>
        </p:nvSpPr>
        <p:spPr>
          <a:xfrm>
            <a:off x="1088450" y="3334600"/>
            <a:ext cx="20154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23"/>
          <p:cNvSpPr txBox="1">
            <a:spLocks noGrp="1"/>
          </p:cNvSpPr>
          <p:nvPr>
            <p:ph type="subTitle" idx="5"/>
          </p:nvPr>
        </p:nvSpPr>
        <p:spPr>
          <a:xfrm>
            <a:off x="6055450" y="2994600"/>
            <a:ext cx="20154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71" name="Google Shape;171;p23"/>
          <p:cNvSpPr txBox="1">
            <a:spLocks noGrp="1"/>
          </p:cNvSpPr>
          <p:nvPr>
            <p:ph type="subTitle" idx="6"/>
          </p:nvPr>
        </p:nvSpPr>
        <p:spPr>
          <a:xfrm>
            <a:off x="6055450" y="3334600"/>
            <a:ext cx="20154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" name="Google Shape;172;p23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47634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9pPr>
          </a:lstStyle>
          <a:p>
            <a:endParaRPr/>
          </a:p>
        </p:txBody>
      </p:sp>
      <p:cxnSp>
        <p:nvCxnSpPr>
          <p:cNvPr id="173" name="Google Shape;173;p23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4" name="Google Shape;174;p23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5" name="Google Shape;175;p23"/>
          <p:cNvCxnSpPr/>
          <p:nvPr/>
        </p:nvCxnSpPr>
        <p:spPr>
          <a:xfrm>
            <a:off x="7434175" y="-125600"/>
            <a:ext cx="1993200" cy="1330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5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24"/>
          <p:cNvSpPr txBox="1">
            <a:spLocks noGrp="1"/>
          </p:cNvSpPr>
          <p:nvPr>
            <p:ph type="subTitle" idx="1"/>
          </p:nvPr>
        </p:nvSpPr>
        <p:spPr>
          <a:xfrm>
            <a:off x="4750187" y="1722900"/>
            <a:ext cx="20148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78" name="Google Shape;178;p24"/>
          <p:cNvSpPr txBox="1">
            <a:spLocks noGrp="1"/>
          </p:cNvSpPr>
          <p:nvPr>
            <p:ph type="subTitle" idx="2"/>
          </p:nvPr>
        </p:nvSpPr>
        <p:spPr>
          <a:xfrm>
            <a:off x="4750184" y="2062900"/>
            <a:ext cx="2014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24"/>
          <p:cNvSpPr txBox="1">
            <a:spLocks noGrp="1"/>
          </p:cNvSpPr>
          <p:nvPr>
            <p:ph type="subTitle" idx="3"/>
          </p:nvPr>
        </p:nvSpPr>
        <p:spPr>
          <a:xfrm>
            <a:off x="2306462" y="1722900"/>
            <a:ext cx="20148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80" name="Google Shape;180;p24"/>
          <p:cNvSpPr txBox="1">
            <a:spLocks noGrp="1"/>
          </p:cNvSpPr>
          <p:nvPr>
            <p:ph type="subTitle" idx="4"/>
          </p:nvPr>
        </p:nvSpPr>
        <p:spPr>
          <a:xfrm>
            <a:off x="2306462" y="2062900"/>
            <a:ext cx="2014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" name="Google Shape;181;p24"/>
          <p:cNvSpPr txBox="1">
            <a:spLocks noGrp="1"/>
          </p:cNvSpPr>
          <p:nvPr>
            <p:ph type="subTitle" idx="5"/>
          </p:nvPr>
        </p:nvSpPr>
        <p:spPr>
          <a:xfrm>
            <a:off x="4750187" y="3158925"/>
            <a:ext cx="20148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82" name="Google Shape;182;p24"/>
          <p:cNvSpPr txBox="1">
            <a:spLocks noGrp="1"/>
          </p:cNvSpPr>
          <p:nvPr>
            <p:ph type="subTitle" idx="6"/>
          </p:nvPr>
        </p:nvSpPr>
        <p:spPr>
          <a:xfrm>
            <a:off x="4750184" y="3498925"/>
            <a:ext cx="2014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24"/>
          <p:cNvSpPr txBox="1">
            <a:spLocks noGrp="1"/>
          </p:cNvSpPr>
          <p:nvPr>
            <p:ph type="subTitle" idx="7"/>
          </p:nvPr>
        </p:nvSpPr>
        <p:spPr>
          <a:xfrm>
            <a:off x="2306462" y="3158925"/>
            <a:ext cx="20148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184" name="Google Shape;184;p24"/>
          <p:cNvSpPr txBox="1">
            <a:spLocks noGrp="1"/>
          </p:cNvSpPr>
          <p:nvPr>
            <p:ph type="subTitle" idx="8"/>
          </p:nvPr>
        </p:nvSpPr>
        <p:spPr>
          <a:xfrm>
            <a:off x="2306462" y="3498925"/>
            <a:ext cx="2014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" name="Google Shape;185;p24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2785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9pPr>
          </a:lstStyle>
          <a:p>
            <a:endParaRPr/>
          </a:p>
        </p:txBody>
      </p:sp>
      <p:cxnSp>
        <p:nvCxnSpPr>
          <p:cNvPr id="186" name="Google Shape;186;p24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7" name="Google Shape;187;p24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">
  <p:cSld name="CUSTOM_6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25"/>
          <p:cNvSpPr txBox="1">
            <a:spLocks noGrp="1"/>
          </p:cNvSpPr>
          <p:nvPr>
            <p:ph type="title" hasCustomPrompt="1"/>
          </p:nvPr>
        </p:nvSpPr>
        <p:spPr>
          <a:xfrm>
            <a:off x="2592925" y="714600"/>
            <a:ext cx="3958200" cy="61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000"/>
              <a:buNone/>
              <a:defRPr sz="45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9pPr>
          </a:lstStyle>
          <a:p>
            <a:r>
              <a:t>xx%</a:t>
            </a:r>
          </a:p>
        </p:txBody>
      </p:sp>
      <p:sp>
        <p:nvSpPr>
          <p:cNvPr id="190" name="Google Shape;190;p25"/>
          <p:cNvSpPr txBox="1">
            <a:spLocks noGrp="1"/>
          </p:cNvSpPr>
          <p:nvPr>
            <p:ph type="subTitle" idx="1"/>
          </p:nvPr>
        </p:nvSpPr>
        <p:spPr>
          <a:xfrm>
            <a:off x="2364984" y="1346400"/>
            <a:ext cx="4414200" cy="37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5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25"/>
          <p:cNvSpPr txBox="1">
            <a:spLocks noGrp="1"/>
          </p:cNvSpPr>
          <p:nvPr>
            <p:ph type="title" idx="2" hasCustomPrompt="1"/>
          </p:nvPr>
        </p:nvSpPr>
        <p:spPr>
          <a:xfrm>
            <a:off x="2592925" y="2063025"/>
            <a:ext cx="3958200" cy="61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000"/>
              <a:buNone/>
              <a:defRPr sz="43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9pPr>
          </a:lstStyle>
          <a:p>
            <a:r>
              <a:t>xx%</a:t>
            </a:r>
          </a:p>
        </p:txBody>
      </p:sp>
      <p:sp>
        <p:nvSpPr>
          <p:cNvPr id="192" name="Google Shape;192;p25"/>
          <p:cNvSpPr txBox="1">
            <a:spLocks noGrp="1"/>
          </p:cNvSpPr>
          <p:nvPr>
            <p:ph type="subTitle" idx="3"/>
          </p:nvPr>
        </p:nvSpPr>
        <p:spPr>
          <a:xfrm>
            <a:off x="2364984" y="2694825"/>
            <a:ext cx="4414200" cy="37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" name="Google Shape;193;p25"/>
          <p:cNvSpPr txBox="1">
            <a:spLocks noGrp="1"/>
          </p:cNvSpPr>
          <p:nvPr>
            <p:ph type="title" idx="4" hasCustomPrompt="1"/>
          </p:nvPr>
        </p:nvSpPr>
        <p:spPr>
          <a:xfrm>
            <a:off x="2592925" y="3411450"/>
            <a:ext cx="3958200" cy="61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000"/>
              <a:buNone/>
              <a:defRPr sz="43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 panose="02000503050000020004"/>
              <a:buNone/>
              <a:defRPr sz="12000">
                <a:solidFill>
                  <a:schemeClr val="accent1"/>
                </a:solidFill>
                <a:latin typeface="Russo One" panose="02000503050000020004"/>
                <a:ea typeface="Russo One" panose="02000503050000020004"/>
                <a:cs typeface="Russo One" panose="02000503050000020004"/>
                <a:sym typeface="Russo One" panose="02000503050000020004"/>
              </a:defRPr>
            </a:lvl9pPr>
          </a:lstStyle>
          <a:p>
            <a:r>
              <a:t>xx%</a:t>
            </a:r>
          </a:p>
        </p:txBody>
      </p:sp>
      <p:sp>
        <p:nvSpPr>
          <p:cNvPr id="194" name="Google Shape;194;p25"/>
          <p:cNvSpPr txBox="1">
            <a:spLocks noGrp="1"/>
          </p:cNvSpPr>
          <p:nvPr>
            <p:ph type="subTitle" idx="5"/>
          </p:nvPr>
        </p:nvSpPr>
        <p:spPr>
          <a:xfrm>
            <a:off x="2364950" y="4043250"/>
            <a:ext cx="4414200" cy="37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5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95" name="Google Shape;195;p25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6" name="Google Shape;196;p25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CUSTOM_7_1"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26"/>
          <p:cNvSpPr txBox="1">
            <a:spLocks noGrp="1"/>
          </p:cNvSpPr>
          <p:nvPr>
            <p:ph type="title"/>
          </p:nvPr>
        </p:nvSpPr>
        <p:spPr>
          <a:xfrm>
            <a:off x="803750" y="2025800"/>
            <a:ext cx="4087500" cy="67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99" name="Google Shape;199;p26"/>
          <p:cNvSpPr txBox="1">
            <a:spLocks noGrp="1"/>
          </p:cNvSpPr>
          <p:nvPr>
            <p:ph type="subTitle" idx="1"/>
          </p:nvPr>
        </p:nvSpPr>
        <p:spPr>
          <a:xfrm>
            <a:off x="803750" y="2693525"/>
            <a:ext cx="3159300" cy="55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ans"/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00" name="Google Shape;200;p26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1" name="Google Shape;201;p26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3">
  <p:cSld name="CUSTOM_7_2"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p27"/>
          <p:cNvSpPr txBox="1">
            <a:spLocks noGrp="1"/>
          </p:cNvSpPr>
          <p:nvPr>
            <p:ph type="title"/>
          </p:nvPr>
        </p:nvSpPr>
        <p:spPr>
          <a:xfrm>
            <a:off x="4490150" y="2047725"/>
            <a:ext cx="3364200" cy="62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 panose="020B0706030804020204"/>
                <a:ea typeface="Open Sans SemiBold" panose="020B0706030804020204"/>
                <a:cs typeface="Open Sans SemiBold" panose="020B0706030804020204"/>
                <a:sym typeface="Open Sans SemiBold" panose="020B0706030804020204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 panose="020B0706030804020204"/>
                <a:ea typeface="Open Sans SemiBold" panose="020B0706030804020204"/>
                <a:cs typeface="Open Sans SemiBold" panose="020B0706030804020204"/>
                <a:sym typeface="Open Sans SemiBold" panose="020B0706030804020204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 panose="020B0706030804020204"/>
                <a:ea typeface="Open Sans SemiBold" panose="020B0706030804020204"/>
                <a:cs typeface="Open Sans SemiBold" panose="020B0706030804020204"/>
                <a:sym typeface="Open Sans SemiBold" panose="020B0706030804020204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 panose="020B0706030804020204"/>
                <a:ea typeface="Open Sans SemiBold" panose="020B0706030804020204"/>
                <a:cs typeface="Open Sans SemiBold" panose="020B0706030804020204"/>
                <a:sym typeface="Open Sans SemiBold" panose="020B0706030804020204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 panose="020B0706030804020204"/>
                <a:ea typeface="Open Sans SemiBold" panose="020B0706030804020204"/>
                <a:cs typeface="Open Sans SemiBold" panose="020B0706030804020204"/>
                <a:sym typeface="Open Sans SemiBold" panose="020B0706030804020204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 panose="020B0706030804020204"/>
                <a:ea typeface="Open Sans SemiBold" panose="020B0706030804020204"/>
                <a:cs typeface="Open Sans SemiBold" panose="020B0706030804020204"/>
                <a:sym typeface="Open Sans SemiBold" panose="020B0706030804020204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 panose="020B0706030804020204"/>
                <a:ea typeface="Open Sans SemiBold" panose="020B0706030804020204"/>
                <a:cs typeface="Open Sans SemiBold" panose="020B0706030804020204"/>
                <a:sym typeface="Open Sans SemiBold" panose="020B0706030804020204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 panose="020B0706030804020204"/>
                <a:ea typeface="Open Sans SemiBold" panose="020B0706030804020204"/>
                <a:cs typeface="Open Sans SemiBold" panose="020B0706030804020204"/>
                <a:sym typeface="Open Sans SemiBold" panose="020B0706030804020204"/>
              </a:defRPr>
            </a:lvl9pPr>
          </a:lstStyle>
          <a:p>
            <a:endParaRPr/>
          </a:p>
        </p:txBody>
      </p:sp>
      <p:sp>
        <p:nvSpPr>
          <p:cNvPr id="204" name="Google Shape;204;p27"/>
          <p:cNvSpPr txBox="1">
            <a:spLocks noGrp="1"/>
          </p:cNvSpPr>
          <p:nvPr>
            <p:ph type="subTitle" idx="1"/>
          </p:nvPr>
        </p:nvSpPr>
        <p:spPr>
          <a:xfrm>
            <a:off x="4855550" y="2694825"/>
            <a:ext cx="2998800" cy="55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Josefin Sans"/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9pPr>
          </a:lstStyle>
          <a:p>
            <a:endParaRPr/>
          </a:p>
        </p:txBody>
      </p:sp>
      <p:cxnSp>
        <p:nvCxnSpPr>
          <p:cNvPr id="205" name="Google Shape;205;p27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6" name="Google Shape;206;p27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4711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4"/>
          <p:cNvSpPr txBox="1">
            <a:spLocks noGrp="1"/>
          </p:cNvSpPr>
          <p:nvPr>
            <p:ph type="body" idx="1"/>
          </p:nvPr>
        </p:nvSpPr>
        <p:spPr>
          <a:xfrm>
            <a:off x="713250" y="1272925"/>
            <a:ext cx="7717500" cy="3295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Lato" panose="020F0502020204030203"/>
              <a:buChar char="●"/>
              <a:defRPr sz="1100"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■"/>
              <a:defRPr/>
            </a:lvl9pPr>
          </a:lstStyle>
          <a:p>
            <a:endParaRPr/>
          </a:p>
        </p:txBody>
      </p:sp>
      <p:cxnSp>
        <p:nvCxnSpPr>
          <p:cNvPr id="26" name="Google Shape;26;p4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7" name="Google Shape;27;p4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8" name="Google Shape;28;p4"/>
          <p:cNvCxnSpPr/>
          <p:nvPr/>
        </p:nvCxnSpPr>
        <p:spPr>
          <a:xfrm>
            <a:off x="6884900" y="-113600"/>
            <a:ext cx="2565600" cy="1306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 1">
  <p:cSld name="CUSTOM_8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p28"/>
          <p:cNvSpPr txBox="1">
            <a:spLocks noGrp="1"/>
          </p:cNvSpPr>
          <p:nvPr>
            <p:ph type="subTitle" idx="1"/>
          </p:nvPr>
        </p:nvSpPr>
        <p:spPr>
          <a:xfrm>
            <a:off x="4166800" y="1453525"/>
            <a:ext cx="3957600" cy="2889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R="3810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Char char="●"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9" name="Google Shape;209;p28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4502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9pPr>
          </a:lstStyle>
          <a:p>
            <a:endParaRPr/>
          </a:p>
        </p:txBody>
      </p:sp>
      <p:cxnSp>
        <p:nvCxnSpPr>
          <p:cNvPr id="210" name="Google Shape;210;p28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11" name="Google Shape;211;p28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12" name="Google Shape;212;p28"/>
          <p:cNvCxnSpPr/>
          <p:nvPr/>
        </p:nvCxnSpPr>
        <p:spPr>
          <a:xfrm flipH="1">
            <a:off x="6772150" y="3663450"/>
            <a:ext cx="2823300" cy="1633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1">
  <p:cSld name="CUSTOM_9"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29"/>
          <p:cNvSpPr txBox="1">
            <a:spLocks noGrp="1"/>
          </p:cNvSpPr>
          <p:nvPr>
            <p:ph type="subTitle" idx="1"/>
          </p:nvPr>
        </p:nvSpPr>
        <p:spPr>
          <a:xfrm>
            <a:off x="4816075" y="3616375"/>
            <a:ext cx="2942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215" name="Google Shape;215;p29"/>
          <p:cNvSpPr txBox="1">
            <a:spLocks noGrp="1"/>
          </p:cNvSpPr>
          <p:nvPr>
            <p:ph type="subTitle" idx="2"/>
          </p:nvPr>
        </p:nvSpPr>
        <p:spPr>
          <a:xfrm>
            <a:off x="4816200" y="3956375"/>
            <a:ext cx="2941800" cy="652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6" name="Google Shape;216;p29"/>
          <p:cNvSpPr txBox="1">
            <a:spLocks noGrp="1"/>
          </p:cNvSpPr>
          <p:nvPr>
            <p:ph type="subTitle" idx="3"/>
          </p:nvPr>
        </p:nvSpPr>
        <p:spPr>
          <a:xfrm>
            <a:off x="1385829" y="3616375"/>
            <a:ext cx="2942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 panose="02000504000000020004"/>
              <a:buNone/>
              <a:defRPr sz="24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217" name="Google Shape;217;p29"/>
          <p:cNvSpPr txBox="1">
            <a:spLocks noGrp="1"/>
          </p:cNvSpPr>
          <p:nvPr>
            <p:ph type="subTitle" idx="4"/>
          </p:nvPr>
        </p:nvSpPr>
        <p:spPr>
          <a:xfrm>
            <a:off x="1386025" y="3956375"/>
            <a:ext cx="2941800" cy="652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" name="Google Shape;218;p29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2729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 panose="00000400000000000000"/>
                <a:ea typeface="Merriweather Light" panose="00000400000000000000"/>
                <a:cs typeface="Merriweather Light" panose="00000400000000000000"/>
                <a:sym typeface="Merriweather Light" panose="00000400000000000000"/>
              </a:defRPr>
            </a:lvl9pPr>
          </a:lstStyle>
          <a:p>
            <a:endParaRPr/>
          </a:p>
        </p:txBody>
      </p:sp>
      <p:cxnSp>
        <p:nvCxnSpPr>
          <p:cNvPr id="219" name="Google Shape;219;p29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0" name="Google Shape;220;p29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10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0" name="Google Shape;230;p31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1" name="Google Shape;231;p31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CUSTOM_10_1"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3" name="Google Shape;233;p32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4" name="Google Shape;234;p32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5" name="Google Shape;235;p32"/>
          <p:cNvCxnSpPr/>
          <p:nvPr/>
        </p:nvCxnSpPr>
        <p:spPr>
          <a:xfrm>
            <a:off x="7434175" y="-125600"/>
            <a:ext cx="1993200" cy="1330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6" name="Google Shape;236;p32"/>
          <p:cNvCxnSpPr/>
          <p:nvPr/>
        </p:nvCxnSpPr>
        <p:spPr>
          <a:xfrm>
            <a:off x="-147275" y="3943475"/>
            <a:ext cx="1993200" cy="1330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CUSTOM_10_1_1"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8" name="Google Shape;238;p33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9" name="Google Shape;239;p33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40" name="Google Shape;240;p33"/>
          <p:cNvCxnSpPr/>
          <p:nvPr/>
        </p:nvCxnSpPr>
        <p:spPr>
          <a:xfrm flipH="1">
            <a:off x="6772150" y="3663450"/>
            <a:ext cx="2823300" cy="1633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6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cxnSp>
        <p:nvCxnSpPr>
          <p:cNvPr id="40" name="Google Shape;40;p6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1" name="Google Shape;41;p6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subTitle" idx="1"/>
          </p:nvPr>
        </p:nvSpPr>
        <p:spPr>
          <a:xfrm>
            <a:off x="2360375" y="1433050"/>
            <a:ext cx="17253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subTitle" idx="2"/>
          </p:nvPr>
        </p:nvSpPr>
        <p:spPr>
          <a:xfrm>
            <a:off x="2247500" y="1790050"/>
            <a:ext cx="5160300" cy="2402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50800" lvl="0" rtl="0">
              <a:lnSpc>
                <a:spcPct val="166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Char char="●"/>
              <a:defRPr sz="1400">
                <a:solidFill>
                  <a:srgbClr val="374957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42972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cxnSp>
        <p:nvCxnSpPr>
          <p:cNvPr id="46" name="Google Shape;46;p7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7" name="Google Shape;47;p7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8"/>
          <p:cNvSpPr txBox="1">
            <a:spLocks noGrp="1"/>
          </p:cNvSpPr>
          <p:nvPr>
            <p:ph type="title"/>
          </p:nvPr>
        </p:nvSpPr>
        <p:spPr>
          <a:xfrm>
            <a:off x="1122500" y="1225400"/>
            <a:ext cx="6899100" cy="2692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96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cxnSp>
        <p:nvCxnSpPr>
          <p:cNvPr id="50" name="Google Shape;50;p8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1" name="Google Shape;51;p8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2" name="Google Shape;52;p8"/>
          <p:cNvCxnSpPr/>
          <p:nvPr/>
        </p:nvCxnSpPr>
        <p:spPr>
          <a:xfrm flipH="1">
            <a:off x="7093250" y="3935075"/>
            <a:ext cx="2332800" cy="1347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3" name="Google Shape;53;p8"/>
          <p:cNvCxnSpPr/>
          <p:nvPr/>
        </p:nvCxnSpPr>
        <p:spPr>
          <a:xfrm flipH="1">
            <a:off x="-420450" y="-121600"/>
            <a:ext cx="2332800" cy="1347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1"/>
          <p:cNvSpPr txBox="1">
            <a:spLocks noGrp="1"/>
          </p:cNvSpPr>
          <p:nvPr>
            <p:ph type="title" hasCustomPrompt="1"/>
          </p:nvPr>
        </p:nvSpPr>
        <p:spPr>
          <a:xfrm>
            <a:off x="713225" y="1497763"/>
            <a:ext cx="7717500" cy="164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67" name="Google Shape;67;p11"/>
          <p:cNvSpPr txBox="1">
            <a:spLocks noGrp="1"/>
          </p:cNvSpPr>
          <p:nvPr>
            <p:ph type="subTitle" idx="1"/>
          </p:nvPr>
        </p:nvSpPr>
        <p:spPr>
          <a:xfrm>
            <a:off x="1514325" y="3278788"/>
            <a:ext cx="6120300" cy="37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68" name="Google Shape;68;p11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9" name="Google Shape;69;p11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70" name="Google Shape;70;p11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71" name="Google Shape;71;p11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CUSTOM_2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14"/>
          <p:cNvSpPr txBox="1">
            <a:spLocks noGrp="1"/>
          </p:cNvSpPr>
          <p:nvPr>
            <p:ph type="title"/>
          </p:nvPr>
        </p:nvSpPr>
        <p:spPr>
          <a:xfrm>
            <a:off x="2410500" y="2932775"/>
            <a:ext cx="4323000" cy="49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9pPr>
          </a:lstStyle>
          <a:p>
            <a:endParaRPr/>
          </a:p>
        </p:txBody>
      </p:sp>
      <p:sp>
        <p:nvSpPr>
          <p:cNvPr id="91" name="Google Shape;91;p14"/>
          <p:cNvSpPr txBox="1">
            <a:spLocks noGrp="1"/>
          </p:cNvSpPr>
          <p:nvPr>
            <p:ph type="subTitle" idx="1"/>
          </p:nvPr>
        </p:nvSpPr>
        <p:spPr>
          <a:xfrm>
            <a:off x="1842900" y="1661963"/>
            <a:ext cx="5458200" cy="99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92" name="Google Shape;92;p14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" name="Google Shape;93;p14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CUSTOM_3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5"/>
          <p:cNvSpPr txBox="1">
            <a:spLocks noGrp="1"/>
          </p:cNvSpPr>
          <p:nvPr>
            <p:ph type="title"/>
          </p:nvPr>
        </p:nvSpPr>
        <p:spPr>
          <a:xfrm>
            <a:off x="1994850" y="1697488"/>
            <a:ext cx="5154300" cy="112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9pPr>
          </a:lstStyle>
          <a:p>
            <a:endParaRPr/>
          </a:p>
        </p:txBody>
      </p:sp>
      <p:sp>
        <p:nvSpPr>
          <p:cNvPr id="96" name="Google Shape;96;p15"/>
          <p:cNvSpPr txBox="1">
            <a:spLocks noGrp="1"/>
          </p:cNvSpPr>
          <p:nvPr>
            <p:ph type="subTitle" idx="1"/>
          </p:nvPr>
        </p:nvSpPr>
        <p:spPr>
          <a:xfrm>
            <a:off x="2299500" y="2972150"/>
            <a:ext cx="4545000" cy="55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cxnSp>
        <p:nvCxnSpPr>
          <p:cNvPr id="97" name="Google Shape;97;p15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8" name="Google Shape;98;p15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Vidaloka" panose="02000504000000020004"/>
              <a:buNone/>
              <a:defRPr sz="3000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3250" y="1152475"/>
            <a:ext cx="77175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Montserrat"/>
              <a:buChar char="●"/>
              <a:defRPr sz="18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○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lvl="2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■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lvl="3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●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lvl="4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○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lvl="5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■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lvl="6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●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lvl="7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○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lvl="8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■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2" r:id="rId12"/>
    <p:sldLayoutId id="2147483663" r:id="rId13"/>
    <p:sldLayoutId id="2147483664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4" r:id="rId22"/>
    <p:sldLayoutId id="2147483675" r:id="rId23"/>
    <p:sldLayoutId id="2147483676" r:id="rId2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328" y="1922850"/>
            <a:ext cx="7997951" cy="648900"/>
          </a:xfrm>
        </p:spPr>
        <p:txBody>
          <a:bodyPr/>
          <a:lstStyle/>
          <a:p>
            <a:r>
              <a:rPr lang="en-US" dirty="0"/>
              <a:t>AstraZeneca AI Hackathon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 Machine Learning Approach to Identifying Sections and Titles in Documents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595616" y="321599"/>
            <a:ext cx="14264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200" dirty="0">
                <a:latin typeface="Montserrat" pitchFamily="2" charset="0"/>
              </a:rPr>
              <a:t>Jan 2022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46304" y="4559807"/>
            <a:ext cx="15753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Montserrat" pitchFamily="2" charset="0"/>
              </a:rPr>
              <a:t>Team Krusher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421335" y="1173335"/>
            <a:ext cx="1725300" cy="357000"/>
          </a:xfrm>
        </p:spPr>
        <p:txBody>
          <a:bodyPr/>
          <a:lstStyle/>
          <a:p>
            <a:r>
              <a:rPr lang="en-IN" altLang="en-US"/>
              <a:t> </a:t>
            </a:r>
          </a:p>
        </p:txBody>
      </p:sp>
      <p:sp>
        <p:nvSpPr>
          <p:cNvPr id="5" name="Title 1"/>
          <p:cNvSpPr>
            <a:spLocks noGrp="1"/>
          </p:cNvSpPr>
          <p:nvPr/>
        </p:nvSpPr>
        <p:spPr>
          <a:xfrm>
            <a:off x="3428365" y="256540"/>
            <a:ext cx="2287270" cy="49657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300"/>
              <a:buFont typeface="Vidaloka" panose="02000504000000020004"/>
              <a:buNone/>
              <a:defRPr sz="7000" b="0" i="0" u="none" strike="noStrike" cap="none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9pPr>
          </a:lstStyle>
          <a:p>
            <a:r>
              <a:rPr lang="en-IN" sz="3000" dirty="0"/>
              <a:t>Results</a:t>
            </a:r>
            <a:endParaRPr lang="en-IN" dirty="0"/>
          </a:p>
        </p:txBody>
      </p:sp>
      <p:pic>
        <p:nvPicPr>
          <p:cNvPr id="8" name="Picture 7" descr="rf_cm_docx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542415"/>
            <a:ext cx="3536950" cy="283845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/>
        </p:nvSpPr>
        <p:spPr>
          <a:xfrm>
            <a:off x="3535045" y="753110"/>
            <a:ext cx="2074545" cy="34036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300"/>
              <a:buFont typeface="Vidaloka" panose="02000504000000020004"/>
              <a:buNone/>
              <a:defRPr sz="7000" b="0" i="0" u="none" strike="noStrike" cap="none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9pPr>
          </a:lstStyle>
          <a:p>
            <a:r>
              <a:rPr lang="en-IN" sz="1800" dirty="0"/>
              <a:t>For .docx, .doc files</a:t>
            </a: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762530334"/>
              </p:ext>
            </p:extLst>
          </p:nvPr>
        </p:nvGraphicFramePr>
        <p:xfrm>
          <a:off x="4748169" y="1530335"/>
          <a:ext cx="3728446" cy="2501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3224530" y="4432300"/>
            <a:ext cx="325247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IN" dirty="0" err="1">
                <a:latin typeface="Montserrat" pitchFamily="2" charset="0"/>
              </a:rPr>
              <a:t>Accuracy- 0.939 </a:t>
            </a:r>
            <a:endParaRPr lang="en-IN" dirty="0">
              <a:latin typeface="Montserrat" pitchFamily="2" charset="0"/>
            </a:endParaRPr>
          </a:p>
        </p:txBody>
      </p:sp>
      <p:sp>
        <p:nvSpPr>
          <p:cNvPr id="13" name="Title 1"/>
          <p:cNvSpPr>
            <a:spLocks noGrp="1"/>
          </p:cNvSpPr>
          <p:nvPr/>
        </p:nvSpPr>
        <p:spPr>
          <a:xfrm>
            <a:off x="2450465" y="1093470"/>
            <a:ext cx="4503420" cy="34036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300"/>
              <a:buFont typeface="Vidaloka" panose="02000504000000020004"/>
              <a:buNone/>
              <a:defRPr sz="7000" b="0" i="0" u="none" strike="noStrike" cap="none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9pPr>
          </a:lstStyle>
          <a:p>
            <a:r>
              <a:rPr lang="en-IN" sz="1800" dirty="0">
                <a:sym typeface="+mn-ea"/>
              </a:rPr>
              <a:t>Final Model used- Random Forest Classifier</a:t>
            </a:r>
            <a:endParaRPr lang="en-IN" sz="1800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52090" y="337820"/>
            <a:ext cx="3991610" cy="420370"/>
          </a:xfrm>
        </p:spPr>
        <p:txBody>
          <a:bodyPr/>
          <a:lstStyle/>
          <a:p>
            <a:r>
              <a:rPr lang="en-IN" altLang="en-US" sz="1800" dirty="0"/>
              <a:t>Visualization of Random Forest trees-</a:t>
            </a:r>
          </a:p>
        </p:txBody>
      </p:sp>
      <p:pic>
        <p:nvPicPr>
          <p:cNvPr id="5" name="Picture 4" descr="rf_docx_dt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" y="1565910"/>
            <a:ext cx="3067685" cy="2012315"/>
          </a:xfrm>
          <a:prstGeom prst="rect">
            <a:avLst/>
          </a:prstGeom>
        </p:spPr>
      </p:pic>
      <p:pic>
        <p:nvPicPr>
          <p:cNvPr id="7" name="Picture 6" descr="rf_docx_dt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6120" y="1033145"/>
            <a:ext cx="5330190" cy="3477895"/>
          </a:xfrm>
          <a:prstGeom prst="rect">
            <a:avLst/>
          </a:prstGeom>
        </p:spPr>
      </p:pic>
      <p:sp>
        <p:nvSpPr>
          <p:cNvPr id="8" name="Text Box 7"/>
          <p:cNvSpPr txBox="1"/>
          <p:nvPr/>
        </p:nvSpPr>
        <p:spPr>
          <a:xfrm>
            <a:off x="600075" y="3766820"/>
            <a:ext cx="2030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SzTx/>
              <a:buFont typeface="Arial" panose="020B0604020202020204" pitchFamily="34" charset="0"/>
            </a:pPr>
            <a:r>
              <a:rPr lang="en-IN" sz="1200" dirty="0" err="1">
                <a:latin typeface="Montserrat" pitchFamily="2" charset="0"/>
              </a:rPr>
              <a:t>One of the decision tree in the Random Forest</a:t>
            </a:r>
          </a:p>
        </p:txBody>
      </p:sp>
      <p:sp>
        <p:nvSpPr>
          <p:cNvPr id="9" name="Text Box 8"/>
          <p:cNvSpPr txBox="1"/>
          <p:nvPr/>
        </p:nvSpPr>
        <p:spPr>
          <a:xfrm>
            <a:off x="5478145" y="4389755"/>
            <a:ext cx="20307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SzTx/>
              <a:buFont typeface="Arial" panose="020B0604020202020204" pitchFamily="34" charset="0"/>
            </a:pPr>
            <a:r>
              <a:rPr lang="en-IN" sz="1200" dirty="0" err="1">
                <a:latin typeface="Montserrat" pitchFamily="2" charset="0"/>
              </a:rPr>
              <a:t>Zoomed in version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/>
          <p:cNvSpPr>
            <a:spLocks noGrp="1"/>
          </p:cNvSpPr>
          <p:nvPr/>
        </p:nvSpPr>
        <p:spPr>
          <a:xfrm>
            <a:off x="2421335" y="1173335"/>
            <a:ext cx="1725300" cy="357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0" i="0" u="none" strike="noStrike" cap="none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 i="0" u="none" strike="noStrike" cap="none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 i="0" u="none" strike="noStrike" cap="none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 i="0" u="none" strike="noStrike" cap="none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 i="0" u="none" strike="noStrike" cap="none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 i="0" u="none" strike="noStrike" cap="none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 i="0" u="none" strike="noStrike" cap="none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 i="0" u="none" strike="noStrike" cap="none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 panose="02000504000000020004"/>
              <a:buNone/>
              <a:defRPr sz="2400" b="1" i="0" u="none" strike="noStrike" cap="none">
                <a:solidFill>
                  <a:schemeClr val="accent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9pPr>
          </a:lstStyle>
          <a:p>
            <a:r>
              <a:rPr lang="en-IN" altLang="en-US"/>
              <a:t> </a:t>
            </a:r>
          </a:p>
        </p:txBody>
      </p:sp>
      <p:sp>
        <p:nvSpPr>
          <p:cNvPr id="10" name="Title 1"/>
          <p:cNvSpPr>
            <a:spLocks noGrp="1"/>
          </p:cNvSpPr>
          <p:nvPr/>
        </p:nvSpPr>
        <p:spPr>
          <a:xfrm>
            <a:off x="3534409" y="470853"/>
            <a:ext cx="2074545" cy="34036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300"/>
              <a:buFont typeface="Vidaloka" panose="02000504000000020004"/>
              <a:buNone/>
              <a:defRPr sz="7000" b="0" i="0" u="none" strike="noStrike" cap="none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9pPr>
          </a:lstStyle>
          <a:p>
            <a:r>
              <a:rPr lang="en-IN" sz="1800" dirty="0"/>
              <a:t>For .txt fil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194050" y="4447540"/>
            <a:ext cx="32524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err="1">
                <a:latin typeface="Montserrat" pitchFamily="2" charset="0"/>
              </a:rPr>
              <a:t>Accuracy- 0.889 </a:t>
            </a:r>
            <a:endParaRPr lang="en-IN" sz="1200" dirty="0">
              <a:latin typeface="Montserrat" pitchFamily="2" charset="0"/>
            </a:endParaRPr>
          </a:p>
        </p:txBody>
      </p:sp>
      <p:pic>
        <p:nvPicPr>
          <p:cNvPr id="9" name="Picture 8" descr="svm_cm_txt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2428" y="1674177"/>
            <a:ext cx="3618865" cy="286639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/>
        </p:nvSpPr>
        <p:spPr>
          <a:xfrm>
            <a:off x="2421255" y="1068070"/>
            <a:ext cx="4861560" cy="34925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300"/>
              <a:buFont typeface="Vidaloka" panose="02000504000000020004"/>
              <a:buNone/>
              <a:defRPr sz="7000" b="0" i="0" u="none" strike="noStrike" cap="none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9pPr>
          </a:lstStyle>
          <a:p>
            <a:r>
              <a:rPr lang="en-IN" sz="1800" dirty="0">
                <a:sym typeface="+mn-ea"/>
              </a:rPr>
              <a:t>Final Model used- Support Vector Machine Classifier</a:t>
            </a:r>
            <a:endParaRPr lang="en-IN" sz="18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362960" y="337820"/>
            <a:ext cx="2418080" cy="397510"/>
          </a:xfrm>
        </p:spPr>
        <p:txBody>
          <a:bodyPr/>
          <a:lstStyle/>
          <a:p>
            <a:r>
              <a:rPr lang="en-IN" altLang="en-US" sz="1800"/>
              <a:t>Misclassified samples-</a:t>
            </a:r>
          </a:p>
        </p:txBody>
      </p:sp>
      <p:sp>
        <p:nvSpPr>
          <p:cNvPr id="10" name="Title 1"/>
          <p:cNvSpPr>
            <a:spLocks noGrp="1"/>
          </p:cNvSpPr>
          <p:nvPr/>
        </p:nvSpPr>
        <p:spPr>
          <a:xfrm>
            <a:off x="1433830" y="1053465"/>
            <a:ext cx="2074545" cy="34036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300"/>
              <a:buFont typeface="Vidaloka" panose="02000504000000020004"/>
              <a:buNone/>
              <a:defRPr sz="7000" b="0" i="0" u="none" strike="noStrike" cap="none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9pPr>
          </a:lstStyle>
          <a:p>
            <a:r>
              <a:rPr lang="en-IN" sz="1600" dirty="0"/>
              <a:t>For .docx, .doc files</a:t>
            </a:r>
          </a:p>
        </p:txBody>
      </p:sp>
      <p:pic>
        <p:nvPicPr>
          <p:cNvPr id="12" name="Picture 11" descr="Screenshot 2022-01-13 at 10-52-00 train - Jupyter Notebook"/>
          <p:cNvPicPr>
            <a:picLocks noChangeAspect="1"/>
          </p:cNvPicPr>
          <p:nvPr/>
        </p:nvPicPr>
        <p:blipFill>
          <a:blip r:embed="rId2"/>
          <a:srcRect t="6184"/>
          <a:stretch>
            <a:fillRect/>
          </a:stretch>
        </p:blipFill>
        <p:spPr>
          <a:xfrm>
            <a:off x="398780" y="1711960"/>
            <a:ext cx="4144645" cy="2437130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/>
        </p:nvSpPr>
        <p:spPr>
          <a:xfrm>
            <a:off x="5781040" y="1053465"/>
            <a:ext cx="2074545" cy="34036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300"/>
              <a:buFont typeface="Vidaloka" panose="02000504000000020004"/>
              <a:buNone/>
              <a:defRPr sz="7000" b="0" i="0" u="none" strike="noStrike" cap="none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9pPr>
          </a:lstStyle>
          <a:p>
            <a:r>
              <a:rPr lang="en-IN" sz="1600" dirty="0"/>
              <a:t>For .txt files</a:t>
            </a:r>
          </a:p>
        </p:txBody>
      </p:sp>
      <p:pic>
        <p:nvPicPr>
          <p:cNvPr id="14" name="Picture 13" descr="Screenshot 2022-01-13 at 11-44-04 SVM_model_text - Jupyter Notebook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1705" y="1711960"/>
            <a:ext cx="4337685" cy="243713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ble of Contents: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gmentation of Document – Preprocessing Step</a:t>
            </a:r>
          </a:p>
          <a:p>
            <a:endParaRPr lang="en-IN" dirty="0"/>
          </a:p>
          <a:p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chine Learning Approach</a:t>
            </a:r>
          </a:p>
          <a:p>
            <a:pPr lvl="1"/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eatures</a:t>
            </a:r>
          </a:p>
          <a:p>
            <a:pPr lvl="1"/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loratory Data Analysis</a:t>
            </a:r>
          </a:p>
          <a:p>
            <a:pPr lvl="1"/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ults</a:t>
            </a:r>
          </a:p>
          <a:p>
            <a:pPr lvl="1"/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valuation Metrics</a:t>
            </a:r>
          </a:p>
          <a:p>
            <a:pPr lvl="1"/>
            <a:endParaRPr lang="en-IN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IN" sz="1400" dirty="0">
                <a:solidFill>
                  <a:schemeClr val="tx1"/>
                </a:solidFill>
              </a:rPr>
              <a:t>Document Reconstruction</a:t>
            </a:r>
            <a:endParaRPr lang="en-IN" dirty="0">
              <a:solidFill>
                <a:schemeClr val="tx1"/>
              </a:solidFill>
            </a:endParaRPr>
          </a:p>
          <a:p>
            <a:endParaRPr lang="en-IN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IN" sz="1400" dirty="0">
                <a:solidFill>
                  <a:schemeClr val="tx1"/>
                </a:solidFill>
              </a:rPr>
              <a:t>References</a:t>
            </a:r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>
            <a:off x="721494" y="3094488"/>
            <a:ext cx="7709256" cy="86511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0647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E3B594-793A-4A0A-9FA6-17005C0AD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/>
              <a:t>Document Reconstruction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C9C684CD-60DA-4302-B7A7-9E4C3CE50E2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78583" y="1490777"/>
            <a:ext cx="1824676" cy="98605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1588" lvl="1" algn="ctr" defTabSz="895350" eaLnBrk="0" fontAlgn="ctr" hangingPunct="0">
              <a:spcBef>
                <a:spcPct val="20000"/>
              </a:spcBef>
              <a:buClr>
                <a:srgbClr val="86E02D"/>
              </a:buClr>
              <a:buSzPct val="120000"/>
            </a:pPr>
            <a:r>
              <a:rPr lang="en-GB" altLang="zh-CN" sz="1200" b="1" dirty="0"/>
              <a:t>Headings</a:t>
            </a:r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7117EFF4-E038-4B9E-9C68-EDCCC2F0DA2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277139" y="1140414"/>
            <a:ext cx="131244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 fontAlgn="ctr">
              <a:buSzPct val="120000"/>
            </a:pPr>
            <a:r>
              <a:rPr lang="en-US" altLang="zh-CN" sz="1200" b="1" dirty="0">
                <a:ea typeface="华文楷体" pitchFamily="2" charset="-122"/>
              </a:rPr>
              <a:t>Segment</a:t>
            </a:r>
            <a:endParaRPr lang="zh-CN" altLang="en-GB" sz="1200" b="1" dirty="0">
              <a:ea typeface="华文楷体" pitchFamily="2" charset="-122"/>
            </a:endParaRPr>
          </a:p>
        </p:txBody>
      </p:sp>
      <p:sp>
        <p:nvSpPr>
          <p:cNvPr id="6" name="Line 11">
            <a:extLst>
              <a:ext uri="{FF2B5EF4-FFF2-40B4-BE49-F238E27FC236}">
                <a16:creationId xmlns:a16="http://schemas.microsoft.com/office/drawing/2014/main" id="{BF948B1B-39D8-40F8-9F26-A78C5FA5FD04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1179532" y="1425110"/>
            <a:ext cx="204183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Clr>
                <a:srgbClr val="86E02D"/>
              </a:buClr>
            </a:pPr>
            <a:endParaRPr lang="en-US" sz="1000" dirty="0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FBC1A5FE-8328-4D62-9EBE-8BC9083F216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178583" y="2775153"/>
            <a:ext cx="1824676" cy="2749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1588" lvl="1" algn="ctr" defTabSz="895350" eaLnBrk="0" fontAlgn="ctr" hangingPunct="0">
              <a:spcBef>
                <a:spcPct val="20000"/>
              </a:spcBef>
              <a:buClr>
                <a:srgbClr val="86E02D"/>
              </a:buClr>
              <a:buSzPct val="120000"/>
            </a:pPr>
            <a:r>
              <a:rPr lang="en-US" altLang="zh-CN" sz="1200" b="1" dirty="0"/>
              <a:t>Sub-headings</a:t>
            </a:r>
            <a:endParaRPr lang="en-GB" altLang="zh-CN" sz="1200" b="1" dirty="0"/>
          </a:p>
        </p:txBody>
      </p:sp>
      <p:cxnSp>
        <p:nvCxnSpPr>
          <p:cNvPr id="8" name="直接连接符 45">
            <a:extLst>
              <a:ext uri="{FF2B5EF4-FFF2-40B4-BE49-F238E27FC236}">
                <a16:creationId xmlns:a16="http://schemas.microsoft.com/office/drawing/2014/main" id="{C24E8D28-C53E-4CA9-9314-094C8D585AE9}"/>
              </a:ext>
            </a:extLst>
          </p:cNvPr>
          <p:cNvCxnSpPr/>
          <p:nvPr/>
        </p:nvCxnSpPr>
        <p:spPr>
          <a:xfrm>
            <a:off x="224020" y="2618540"/>
            <a:ext cx="8474075" cy="1587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4">
            <a:extLst>
              <a:ext uri="{FF2B5EF4-FFF2-40B4-BE49-F238E27FC236}">
                <a16:creationId xmlns:a16="http://schemas.microsoft.com/office/drawing/2014/main" id="{6755E6AC-7509-4BE0-B9DC-C3D645B7986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178583" y="3746625"/>
            <a:ext cx="1824676" cy="56043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1588" lvl="1" algn="ctr" defTabSz="895350" eaLnBrk="0" fontAlgn="ctr" hangingPunct="0">
              <a:spcBef>
                <a:spcPct val="20000"/>
              </a:spcBef>
              <a:buClr>
                <a:srgbClr val="86E02D"/>
              </a:buClr>
              <a:buSzPct val="120000"/>
            </a:pPr>
            <a:r>
              <a:rPr lang="en-US" altLang="zh-CN" sz="1200" b="1" dirty="0"/>
              <a:t>Sec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100BD6A-246F-4FB1-AC91-FE9EE715E1E0}"/>
              </a:ext>
            </a:extLst>
          </p:cNvPr>
          <p:cNvGrpSpPr/>
          <p:nvPr/>
        </p:nvGrpSpPr>
        <p:grpSpPr>
          <a:xfrm>
            <a:off x="3896796" y="1140414"/>
            <a:ext cx="3544390" cy="284696"/>
            <a:chOff x="5068997" y="1726139"/>
            <a:chExt cx="3544390" cy="284696"/>
          </a:xfrm>
        </p:grpSpPr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F4BA8F66-3678-4CF2-BF3F-CD0C260887B9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319549" y="1726139"/>
              <a:ext cx="29083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350" fontAlgn="ctr">
                <a:buSzPct val="120000"/>
              </a:pPr>
              <a:r>
                <a:rPr lang="en-US" altLang="zh-CN" sz="1200" b="1" dirty="0">
                  <a:ea typeface="华文楷体" pitchFamily="2" charset="-122"/>
                </a:rPr>
                <a:t>Services</a:t>
              </a:r>
              <a:endParaRPr lang="zh-CN" altLang="en-GB" sz="1200" b="1" dirty="0">
                <a:ea typeface="华文楷体" pitchFamily="2" charset="-122"/>
              </a:endParaRPr>
            </a:p>
          </p:txBody>
        </p:sp>
        <p:sp>
          <p:nvSpPr>
            <p:cNvPr id="13" name="Line 11">
              <a:extLst>
                <a:ext uri="{FF2B5EF4-FFF2-40B4-BE49-F238E27FC236}">
                  <a16:creationId xmlns:a16="http://schemas.microsoft.com/office/drawing/2014/main" id="{B9B28212-9360-4B3C-847B-6FDE3F22D8E8}"/>
                </a:ext>
              </a:extLst>
            </p:cNvPr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gray">
            <a:xfrm>
              <a:off x="5068997" y="2010835"/>
              <a:ext cx="3544390" cy="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buClr>
                  <a:srgbClr val="86E02D"/>
                </a:buClr>
              </a:pPr>
              <a:endParaRPr lang="en-US" sz="1000" dirty="0"/>
            </a:p>
          </p:txBody>
        </p:sp>
      </p:grpSp>
      <p:cxnSp>
        <p:nvCxnSpPr>
          <p:cNvPr id="33" name="直接连接符 45">
            <a:extLst>
              <a:ext uri="{FF2B5EF4-FFF2-40B4-BE49-F238E27FC236}">
                <a16:creationId xmlns:a16="http://schemas.microsoft.com/office/drawing/2014/main" id="{C2A41A37-B705-4F2C-B0B4-A1008222A43C}"/>
              </a:ext>
            </a:extLst>
          </p:cNvPr>
          <p:cNvCxnSpPr/>
          <p:nvPr/>
        </p:nvCxnSpPr>
        <p:spPr>
          <a:xfrm>
            <a:off x="224019" y="3679372"/>
            <a:ext cx="8474075" cy="1587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1B136081-59CD-45D7-9A01-65CCC39C1D17}"/>
              </a:ext>
            </a:extLst>
          </p:cNvPr>
          <p:cNvSpPr txBox="1"/>
          <p:nvPr/>
        </p:nvSpPr>
        <p:spPr>
          <a:xfrm>
            <a:off x="4098567" y="1624169"/>
            <a:ext cx="354439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altLang="zh-CN" sz="1000" dirty="0">
                <a:solidFill>
                  <a:schemeClr val="tx1"/>
                </a:solidFill>
              </a:rPr>
              <a:t>Blocks which were predicted as headings were concatenated with heading tags at beginning and end of string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dirty="0"/>
              <a:t>Formatting was tried to be preserved as much as possibl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97A91C1-7198-4DDC-AD99-1C4F2A520F53}"/>
              </a:ext>
            </a:extLst>
          </p:cNvPr>
          <p:cNvSpPr txBox="1"/>
          <p:nvPr/>
        </p:nvSpPr>
        <p:spPr>
          <a:xfrm>
            <a:off x="4098567" y="2685343"/>
            <a:ext cx="354439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altLang="zh-CN" sz="1000" dirty="0">
                <a:solidFill>
                  <a:schemeClr val="tx1"/>
                </a:solidFill>
              </a:rPr>
              <a:t>Blocks which were predicted as sub-headings were concatenated with sub-heading tags at beginning and end of string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dirty="0"/>
              <a:t>Considerations for presence of hyperlinks was taken into account. Formatting was tried to be preserved as much as possib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97E898A-7FDF-4545-96F4-AC35DD1011A7}"/>
              </a:ext>
            </a:extLst>
          </p:cNvPr>
          <p:cNvSpPr txBox="1"/>
          <p:nvPr/>
        </p:nvSpPr>
        <p:spPr>
          <a:xfrm>
            <a:off x="4098567" y="3790055"/>
            <a:ext cx="354439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chemeClr val="tx1"/>
                </a:solidFill>
              </a:rPr>
              <a:t>Blocks which were predicted as sections contiguously were combined as single sec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chemeClr val="tx1"/>
                </a:solidFill>
              </a:rPr>
              <a:t>Considerations were taken while dealing with tables, images and hyperlinks so that formatting was retained as much as possible. 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10127078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835" y="1191011"/>
            <a:ext cx="2942184" cy="2064516"/>
          </a:xfrm>
          <a:prstGeom prst="rect">
            <a:avLst/>
          </a:prstGeom>
        </p:spPr>
      </p:pic>
      <p:pic>
        <p:nvPicPr>
          <p:cNvPr id="13" name="Picture 12"/>
          <p:cNvPicPr/>
          <p:nvPr/>
        </p:nvPicPr>
        <p:blipFill>
          <a:blip r:embed="rId4"/>
          <a:stretch>
            <a:fillRect/>
          </a:stretch>
        </p:blipFill>
        <p:spPr>
          <a:xfrm>
            <a:off x="3459019" y="1240975"/>
            <a:ext cx="2737452" cy="1964589"/>
          </a:xfrm>
          <a:prstGeom prst="rect">
            <a:avLst/>
          </a:prstGeom>
        </p:spPr>
      </p:pic>
      <p:pic>
        <p:nvPicPr>
          <p:cNvPr id="15" name="Picture 14"/>
          <p:cNvPicPr/>
          <p:nvPr/>
        </p:nvPicPr>
        <p:blipFill>
          <a:blip r:embed="rId5"/>
          <a:stretch>
            <a:fillRect/>
          </a:stretch>
        </p:blipFill>
        <p:spPr>
          <a:xfrm rot="60000">
            <a:off x="6213406" y="1208772"/>
            <a:ext cx="2737452" cy="1964589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17175" y="3582350"/>
            <a:ext cx="8288323" cy="1168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>
                <a:latin typeface="Montserrat" pitchFamily="2" charset="0"/>
              </a:rPr>
              <a:t>Tf-idf</a:t>
            </a:r>
            <a:r>
              <a:rPr lang="en-IN" dirty="0">
                <a:latin typeface="Montserrat" pitchFamily="2" charset="0"/>
              </a:rPr>
              <a:t> : specific to type of document used. Would be valuable when a specific type of document is of interest. </a:t>
            </a:r>
            <a:r>
              <a:rPr lang="en-IN" dirty="0" err="1">
                <a:latin typeface="Montserrat" pitchFamily="2" charset="0"/>
              </a:rPr>
              <a:t>Eg</a:t>
            </a:r>
            <a:r>
              <a:rPr lang="en-IN" dirty="0">
                <a:latin typeface="Montserrat" pitchFamily="2" charset="0"/>
              </a:rPr>
              <a:t>: Scientific journals, fiction type document. Can be used in further improvements of classifier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Montserrat" pitchFamily="2" charset="0"/>
              </a:rPr>
              <a:t>A hybrid approach combining both tf-idf and non tf-idf features can also help in improving the results and increase robustness of the model.</a:t>
            </a:r>
          </a:p>
        </p:txBody>
      </p:sp>
      <p:sp>
        <p:nvSpPr>
          <p:cNvPr id="10" name="Title 1"/>
          <p:cNvSpPr>
            <a:spLocks noGrp="1"/>
          </p:cNvSpPr>
          <p:nvPr/>
        </p:nvSpPr>
        <p:spPr>
          <a:xfrm>
            <a:off x="3388907" y="550910"/>
            <a:ext cx="2877675" cy="24887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300"/>
              <a:buFont typeface="Vidaloka" panose="02000504000000020004"/>
              <a:buNone/>
              <a:defRPr sz="7000" b="0" i="0" u="none" strike="noStrike" cap="none">
                <a:solidFill>
                  <a:schemeClr val="dk1"/>
                </a:solidFill>
                <a:latin typeface="Vidaloka" panose="02000504000000020004"/>
                <a:ea typeface="Vidaloka" panose="02000504000000020004"/>
                <a:cs typeface="Vidaloka" panose="02000504000000020004"/>
                <a:sym typeface="Vidaloka" panose="02000504000000020004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0" i="1" u="none" strike="noStrike" cap="none">
                <a:solidFill>
                  <a:schemeClr val="dk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9pPr>
          </a:lstStyle>
          <a:p>
            <a:r>
              <a:rPr lang="en-IN" sz="1800" dirty="0"/>
              <a:t>Further Improvements</a:t>
            </a:r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B5E15B-22DE-981D-3256-3EBD17B90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err="1"/>
              <a:t>distilBERT</a:t>
            </a:r>
            <a:r>
              <a:rPr lang="en-IN" dirty="0"/>
              <a:t> – Hugging Fa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14392C-559C-7943-1B3B-F5EC389750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1400" dirty="0"/>
              <a:t>Hugging Face Model</a:t>
            </a:r>
          </a:p>
          <a:p>
            <a:r>
              <a:rPr lang="en-IN" sz="1400" dirty="0"/>
              <a:t>Last layer changed and fine-tuned</a:t>
            </a:r>
          </a:p>
          <a:p>
            <a:r>
              <a:rPr lang="en-IN" sz="1400" dirty="0"/>
              <a:t>Drugs.com dataset</a:t>
            </a:r>
          </a:p>
          <a:p>
            <a:r>
              <a:rPr lang="en-IN" sz="1400" dirty="0"/>
              <a:t>25K Headings</a:t>
            </a:r>
          </a:p>
          <a:p>
            <a:r>
              <a:rPr lang="en-IN" sz="1400" dirty="0"/>
              <a:t>48K Sub-Headings</a:t>
            </a:r>
          </a:p>
          <a:p>
            <a:r>
              <a:rPr lang="en-IN" sz="1400" dirty="0"/>
              <a:t>2L Section type classes</a:t>
            </a:r>
          </a:p>
          <a:p>
            <a:r>
              <a:rPr lang="en-IN" sz="1400" dirty="0"/>
              <a:t>Taken from various drugs related dataset to accurately depict the problem in hand</a:t>
            </a:r>
          </a:p>
          <a:p>
            <a:r>
              <a:rPr lang="en-IN" sz="1400" dirty="0"/>
              <a:t>Web scraping done using Beautiful Soup</a:t>
            </a:r>
          </a:p>
          <a:p>
            <a:endParaRPr lang="en-IN" dirty="0"/>
          </a:p>
          <a:p>
            <a:endParaRPr lang="en-IN" dirty="0"/>
          </a:p>
          <a:p>
            <a:pPr marL="11430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998294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04;p40">
            <a:extLst>
              <a:ext uri="{FF2B5EF4-FFF2-40B4-BE49-F238E27FC236}">
                <a16:creationId xmlns:a16="http://schemas.microsoft.com/office/drawing/2014/main" id="{C366EE8A-63E5-F229-C465-7C4191F69F28}"/>
              </a:ext>
            </a:extLst>
          </p:cNvPr>
          <p:cNvSpPr txBox="1">
            <a:spLocks/>
          </p:cNvSpPr>
          <p:nvPr/>
        </p:nvSpPr>
        <p:spPr>
          <a:xfrm>
            <a:off x="855300" y="836000"/>
            <a:ext cx="5307000" cy="3963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en-IN" sz="2000" b="1" dirty="0">
                <a:latin typeface="Vidaloka" panose="020B0604020202020204" charset="0"/>
              </a:rPr>
              <a:t>MODEL PERFORMANCE</a:t>
            </a:r>
          </a:p>
        </p:txBody>
      </p:sp>
      <p:sp>
        <p:nvSpPr>
          <p:cNvPr id="3" name="Google Shape;606;p40">
            <a:extLst>
              <a:ext uri="{FF2B5EF4-FFF2-40B4-BE49-F238E27FC236}">
                <a16:creationId xmlns:a16="http://schemas.microsoft.com/office/drawing/2014/main" id="{177BFDEA-2719-178B-C4B1-9AB19B35EDA8}"/>
              </a:ext>
            </a:extLst>
          </p:cNvPr>
          <p:cNvSpPr/>
          <p:nvPr/>
        </p:nvSpPr>
        <p:spPr>
          <a:xfrm>
            <a:off x="855300" y="1363400"/>
            <a:ext cx="3649200" cy="1584600"/>
          </a:xfrm>
          <a:prstGeom prst="rect">
            <a:avLst/>
          </a:prstGeom>
          <a:gradFill>
            <a:gsLst>
              <a:gs pos="0">
                <a:srgbClr val="FFFFFF">
                  <a:alpha val="29803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1371600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rPr>
              <a:t>F1 SCORE FOR HEADINGS</a:t>
            </a:r>
          </a:p>
        </p:txBody>
      </p:sp>
      <p:sp>
        <p:nvSpPr>
          <p:cNvPr id="4" name="Google Shape;607;p40">
            <a:extLst>
              <a:ext uri="{FF2B5EF4-FFF2-40B4-BE49-F238E27FC236}">
                <a16:creationId xmlns:a16="http://schemas.microsoft.com/office/drawing/2014/main" id="{5920E7C0-B63B-D9D9-2F63-55272A9E68D5}"/>
              </a:ext>
            </a:extLst>
          </p:cNvPr>
          <p:cNvSpPr/>
          <p:nvPr/>
        </p:nvSpPr>
        <p:spPr>
          <a:xfrm>
            <a:off x="4655554" y="1363400"/>
            <a:ext cx="3649200" cy="1584600"/>
          </a:xfrm>
          <a:prstGeom prst="rect">
            <a:avLst/>
          </a:prstGeom>
          <a:gradFill>
            <a:gsLst>
              <a:gs pos="0">
                <a:srgbClr val="FFFFFF">
                  <a:alpha val="29803"/>
                </a:srgbClr>
              </a:gs>
              <a:gs pos="100000">
                <a:srgbClr val="FFFFFF">
                  <a:alpha val="0"/>
                </a:srgbClr>
              </a:gs>
            </a:gsLst>
            <a:lin ang="10800025" scaled="0"/>
          </a:gradFill>
          <a:ln>
            <a:noFill/>
          </a:ln>
        </p:spPr>
        <p:txBody>
          <a:bodyPr spcFirstLastPara="1" wrap="square" lIns="1371600" tIns="91425" rIns="91425" bIns="91425" anchor="t" anchorCtr="0">
            <a:noAutofit/>
          </a:bodyPr>
          <a:lstStyle/>
          <a:p>
            <a:pPr marL="0" lvl="0" indent="0" algn="r" rtl="0">
              <a:spcBef>
                <a:spcPts val="600"/>
              </a:spcBef>
              <a:spcAft>
                <a:spcPts val="600"/>
              </a:spcAft>
              <a:buNone/>
            </a:pPr>
            <a:r>
              <a:rPr lang="en" dirty="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rPr>
              <a:t>F1 SCORE FOR SUBHEADINGS</a:t>
            </a:r>
          </a:p>
        </p:txBody>
      </p:sp>
      <p:sp>
        <p:nvSpPr>
          <p:cNvPr id="5" name="Google Shape;608;p40">
            <a:extLst>
              <a:ext uri="{FF2B5EF4-FFF2-40B4-BE49-F238E27FC236}">
                <a16:creationId xmlns:a16="http://schemas.microsoft.com/office/drawing/2014/main" id="{1F3F2B88-3C64-4039-0229-BF75B4F3D7DD}"/>
              </a:ext>
            </a:extLst>
          </p:cNvPr>
          <p:cNvSpPr/>
          <p:nvPr/>
        </p:nvSpPr>
        <p:spPr>
          <a:xfrm>
            <a:off x="855300" y="3121900"/>
            <a:ext cx="3649200" cy="1584600"/>
          </a:xfrm>
          <a:prstGeom prst="rect">
            <a:avLst/>
          </a:prstGeom>
          <a:gradFill>
            <a:gsLst>
              <a:gs pos="0">
                <a:srgbClr val="FFFFFF">
                  <a:alpha val="29803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1371600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dirty="0">
              <a:solidFill>
                <a:schemeClr val="dk1"/>
              </a:solidFill>
              <a:latin typeface="Barlow Light"/>
              <a:ea typeface="Barlow Light"/>
              <a:cs typeface="Barlow Light"/>
              <a:sym typeface="Barlow Light"/>
            </a:endParaRP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dirty="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rPr>
              <a:t>F1 SCORE FOR SECTION</a:t>
            </a:r>
            <a:endParaRPr dirty="0">
              <a:solidFill>
                <a:schemeClr val="dk1"/>
              </a:solidFill>
              <a:latin typeface="Barlow Light"/>
              <a:ea typeface="Barlow Light"/>
              <a:cs typeface="Barlow Light"/>
              <a:sym typeface="Barlow Light"/>
            </a:endParaRPr>
          </a:p>
        </p:txBody>
      </p:sp>
      <p:sp>
        <p:nvSpPr>
          <p:cNvPr id="6" name="Google Shape;609;p40">
            <a:extLst>
              <a:ext uri="{FF2B5EF4-FFF2-40B4-BE49-F238E27FC236}">
                <a16:creationId xmlns:a16="http://schemas.microsoft.com/office/drawing/2014/main" id="{3A0FA031-CD57-07BE-7AB8-9B5DB5790D73}"/>
              </a:ext>
            </a:extLst>
          </p:cNvPr>
          <p:cNvSpPr/>
          <p:nvPr/>
        </p:nvSpPr>
        <p:spPr>
          <a:xfrm>
            <a:off x="4655554" y="3121900"/>
            <a:ext cx="3649200" cy="1584600"/>
          </a:xfrm>
          <a:prstGeom prst="rect">
            <a:avLst/>
          </a:prstGeom>
          <a:gradFill>
            <a:gsLst>
              <a:gs pos="0">
                <a:srgbClr val="FFFFFF">
                  <a:alpha val="29803"/>
                </a:srgbClr>
              </a:gs>
              <a:gs pos="100000">
                <a:srgbClr val="FFFFFF">
                  <a:alpha val="0"/>
                </a:srgbClr>
              </a:gs>
            </a:gsLst>
            <a:lin ang="10800025" scaled="0"/>
          </a:gradFill>
          <a:ln>
            <a:noFill/>
          </a:ln>
        </p:spPr>
        <p:txBody>
          <a:bodyPr spcFirstLastPara="1" wrap="square" lIns="1371600" tIns="91425" rIns="91425" bIns="91425" anchor="b" anchorCtr="0">
            <a:noAutofit/>
          </a:bodyPr>
          <a:lstStyle/>
          <a:p>
            <a:pPr marL="0" lvl="0" indent="0" algn="r" rtl="0">
              <a:spcBef>
                <a:spcPts val="600"/>
              </a:spcBef>
              <a:spcAft>
                <a:spcPts val="600"/>
              </a:spcAft>
              <a:buNone/>
            </a:pPr>
            <a:r>
              <a:rPr lang="en" dirty="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rPr>
              <a:t>ACCURACY</a:t>
            </a:r>
            <a:endParaRPr dirty="0">
              <a:solidFill>
                <a:schemeClr val="dk1"/>
              </a:solidFill>
              <a:latin typeface="Barlow Light"/>
              <a:ea typeface="Barlow Light"/>
              <a:cs typeface="Barlow Light"/>
              <a:sym typeface="Barlow Light"/>
            </a:endParaRPr>
          </a:p>
        </p:txBody>
      </p:sp>
      <p:sp>
        <p:nvSpPr>
          <p:cNvPr id="7" name="Google Shape;610;p40">
            <a:extLst>
              <a:ext uri="{FF2B5EF4-FFF2-40B4-BE49-F238E27FC236}">
                <a16:creationId xmlns:a16="http://schemas.microsoft.com/office/drawing/2014/main" id="{0EA56E2A-D6EE-6CE7-C8F1-AF38BBD67BD7}"/>
              </a:ext>
            </a:extLst>
          </p:cNvPr>
          <p:cNvSpPr/>
          <p:nvPr/>
        </p:nvSpPr>
        <p:spPr>
          <a:xfrm>
            <a:off x="3298034" y="1738389"/>
            <a:ext cx="2417100" cy="2417100"/>
          </a:xfrm>
          <a:prstGeom prst="pie">
            <a:avLst>
              <a:gd name="adj1" fmla="val 10788866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611;p40">
            <a:extLst>
              <a:ext uri="{FF2B5EF4-FFF2-40B4-BE49-F238E27FC236}">
                <a16:creationId xmlns:a16="http://schemas.microsoft.com/office/drawing/2014/main" id="{BD8F018D-4854-462F-6943-97358B53F9CA}"/>
              </a:ext>
            </a:extLst>
          </p:cNvPr>
          <p:cNvSpPr/>
          <p:nvPr/>
        </p:nvSpPr>
        <p:spPr>
          <a:xfrm rot="5400000">
            <a:off x="3430952" y="1738367"/>
            <a:ext cx="2417100" cy="2417100"/>
          </a:xfrm>
          <a:prstGeom prst="pie">
            <a:avLst>
              <a:gd name="adj1" fmla="val 10788866"/>
              <a:gd name="adj2" fmla="val 1620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612;p40">
            <a:extLst>
              <a:ext uri="{FF2B5EF4-FFF2-40B4-BE49-F238E27FC236}">
                <a16:creationId xmlns:a16="http://schemas.microsoft.com/office/drawing/2014/main" id="{A03A86C1-D48D-2168-891E-C34F8A522EBB}"/>
              </a:ext>
            </a:extLst>
          </p:cNvPr>
          <p:cNvSpPr/>
          <p:nvPr/>
        </p:nvSpPr>
        <p:spPr>
          <a:xfrm rot="10800000">
            <a:off x="3447470" y="1914006"/>
            <a:ext cx="2417100" cy="2417100"/>
          </a:xfrm>
          <a:prstGeom prst="pie">
            <a:avLst>
              <a:gd name="adj1" fmla="val 10788866"/>
              <a:gd name="adj2" fmla="val 1620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613;p40">
            <a:extLst>
              <a:ext uri="{FF2B5EF4-FFF2-40B4-BE49-F238E27FC236}">
                <a16:creationId xmlns:a16="http://schemas.microsoft.com/office/drawing/2014/main" id="{662F97F0-4E7E-50EA-3E9C-5183B549D787}"/>
              </a:ext>
            </a:extLst>
          </p:cNvPr>
          <p:cNvSpPr/>
          <p:nvPr/>
        </p:nvSpPr>
        <p:spPr>
          <a:xfrm rot="-5400000">
            <a:off x="3298034" y="1914006"/>
            <a:ext cx="2417100" cy="2417100"/>
          </a:xfrm>
          <a:prstGeom prst="pie">
            <a:avLst>
              <a:gd name="adj1" fmla="val 10788866"/>
              <a:gd name="adj2" fmla="val 1620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614;p40">
            <a:extLst>
              <a:ext uri="{FF2B5EF4-FFF2-40B4-BE49-F238E27FC236}">
                <a16:creationId xmlns:a16="http://schemas.microsoft.com/office/drawing/2014/main" id="{49D3DF96-5AA5-9880-32A9-0BF209595861}"/>
              </a:ext>
            </a:extLst>
          </p:cNvPr>
          <p:cNvSpPr/>
          <p:nvPr/>
        </p:nvSpPr>
        <p:spPr>
          <a:xfrm>
            <a:off x="3582643" y="2290696"/>
            <a:ext cx="846900" cy="463807"/>
          </a:xfrm>
          <a:prstGeom prst="rect">
            <a:avLst/>
          </a:prstGeom>
        </p:spPr>
        <p:txBody>
          <a:bodyPr>
            <a:prstTxWarp prst="textPlain">
              <a:avLst/>
            </a:prstTxWarp>
          </a:bodyPr>
          <a:lstStyle/>
          <a:p>
            <a:pPr lvl="0" algn="ctr"/>
            <a:r>
              <a:rPr lang="en-US" b="1" dirty="0">
                <a:solidFill>
                  <a:schemeClr val="dk1"/>
                </a:solidFill>
                <a:latin typeface="Barlow"/>
              </a:rPr>
              <a:t>0.81</a:t>
            </a:r>
            <a:endParaRPr b="1" i="0" dirty="0">
              <a:ln>
                <a:noFill/>
              </a:ln>
              <a:solidFill>
                <a:schemeClr val="dk1"/>
              </a:solidFill>
              <a:latin typeface="Barlow"/>
            </a:endParaRPr>
          </a:p>
        </p:txBody>
      </p:sp>
      <p:sp>
        <p:nvSpPr>
          <p:cNvPr id="12" name="Google Shape;615;p40">
            <a:extLst>
              <a:ext uri="{FF2B5EF4-FFF2-40B4-BE49-F238E27FC236}">
                <a16:creationId xmlns:a16="http://schemas.microsoft.com/office/drawing/2014/main" id="{75DA8A68-F60E-B1A2-8F39-E20D31E165FD}"/>
              </a:ext>
            </a:extLst>
          </p:cNvPr>
          <p:cNvSpPr/>
          <p:nvPr/>
        </p:nvSpPr>
        <p:spPr>
          <a:xfrm>
            <a:off x="4611353" y="2324628"/>
            <a:ext cx="1006850" cy="1142238"/>
          </a:xfrm>
          <a:prstGeom prst="rect">
            <a:avLst/>
          </a:prstGeom>
        </p:spPr>
        <p:txBody>
          <a:bodyPr>
            <a:prstTxWarp prst="textPlain">
              <a:avLst/>
            </a:prstTxWarp>
          </a:bodyPr>
          <a:lstStyle/>
          <a:p>
            <a:pPr algn="ctr"/>
            <a:r>
              <a:rPr lang="en-US" b="1" i="0" dirty="0">
                <a:ln>
                  <a:noFill/>
                </a:ln>
                <a:solidFill>
                  <a:schemeClr val="dk1"/>
                </a:solidFill>
                <a:latin typeface="Barlow"/>
              </a:rPr>
              <a:t> </a:t>
            </a:r>
            <a:r>
              <a:rPr lang="en-US" b="1" dirty="0">
                <a:solidFill>
                  <a:schemeClr val="dk1"/>
                </a:solidFill>
                <a:latin typeface="Barlow"/>
              </a:rPr>
              <a:t>0.90</a:t>
            </a:r>
            <a:endParaRPr lang="en-US" b="1" i="0" dirty="0">
              <a:ln>
                <a:noFill/>
              </a:ln>
              <a:solidFill>
                <a:schemeClr val="dk1"/>
              </a:solidFill>
              <a:latin typeface="Barlow"/>
            </a:endParaRPr>
          </a:p>
          <a:p>
            <a:pPr lvl="0" algn="ctr"/>
            <a:endParaRPr b="1" i="0" dirty="0">
              <a:ln>
                <a:noFill/>
              </a:ln>
              <a:solidFill>
                <a:schemeClr val="dk1"/>
              </a:solidFill>
              <a:latin typeface="Barlow"/>
            </a:endParaRPr>
          </a:p>
        </p:txBody>
      </p:sp>
      <p:sp>
        <p:nvSpPr>
          <p:cNvPr id="13" name="Google Shape;616;p40">
            <a:extLst>
              <a:ext uri="{FF2B5EF4-FFF2-40B4-BE49-F238E27FC236}">
                <a16:creationId xmlns:a16="http://schemas.microsoft.com/office/drawing/2014/main" id="{CE28A78D-B0B2-D3E1-60C1-8F8E92AABF95}"/>
              </a:ext>
            </a:extLst>
          </p:cNvPr>
          <p:cNvSpPr/>
          <p:nvPr/>
        </p:nvSpPr>
        <p:spPr>
          <a:xfrm>
            <a:off x="3657600" y="3348952"/>
            <a:ext cx="696987" cy="444054"/>
          </a:xfrm>
          <a:prstGeom prst="rect">
            <a:avLst/>
          </a:prstGeom>
        </p:spPr>
        <p:txBody>
          <a:bodyPr>
            <a:prstTxWarp prst="textPlain">
              <a:avLst/>
            </a:prstTxWarp>
          </a:bodyPr>
          <a:lstStyle/>
          <a:p>
            <a:pPr lvl="0" algn="ctr"/>
            <a:r>
              <a:rPr b="1" i="0" dirty="0">
                <a:ln>
                  <a:noFill/>
                </a:ln>
                <a:solidFill>
                  <a:schemeClr val="dk1"/>
                </a:solidFill>
                <a:latin typeface="Barlow"/>
              </a:rPr>
              <a:t>O</a:t>
            </a:r>
            <a:r>
              <a:rPr lang="en-US" b="1" i="0" dirty="0">
                <a:ln>
                  <a:noFill/>
                </a:ln>
                <a:solidFill>
                  <a:schemeClr val="dk1"/>
                </a:solidFill>
                <a:latin typeface="Barlow"/>
              </a:rPr>
              <a:t>.95</a:t>
            </a:r>
            <a:endParaRPr b="1" i="0" dirty="0">
              <a:ln>
                <a:noFill/>
              </a:ln>
              <a:solidFill>
                <a:schemeClr val="dk1"/>
              </a:solidFill>
              <a:latin typeface="Barlow"/>
            </a:endParaRPr>
          </a:p>
        </p:txBody>
      </p:sp>
      <p:sp>
        <p:nvSpPr>
          <p:cNvPr id="14" name="Google Shape;617;p40">
            <a:extLst>
              <a:ext uri="{FF2B5EF4-FFF2-40B4-BE49-F238E27FC236}">
                <a16:creationId xmlns:a16="http://schemas.microsoft.com/office/drawing/2014/main" id="{551294FD-6872-313D-299C-2DED6C7E645D}"/>
              </a:ext>
            </a:extLst>
          </p:cNvPr>
          <p:cNvSpPr/>
          <p:nvPr/>
        </p:nvSpPr>
        <p:spPr>
          <a:xfrm>
            <a:off x="4714631" y="3348952"/>
            <a:ext cx="909108" cy="432320"/>
          </a:xfrm>
          <a:prstGeom prst="rect">
            <a:avLst/>
          </a:prstGeom>
        </p:spPr>
        <p:txBody>
          <a:bodyPr>
            <a:prstTxWarp prst="textPlain">
              <a:avLst/>
            </a:prstTxWarp>
          </a:bodyPr>
          <a:lstStyle/>
          <a:p>
            <a:pPr lvl="0" algn="ctr"/>
            <a:r>
              <a:rPr lang="en-US" b="1" dirty="0">
                <a:solidFill>
                  <a:schemeClr val="dk1"/>
                </a:solidFill>
                <a:latin typeface="Barlow"/>
              </a:rPr>
              <a:t>0.89</a:t>
            </a:r>
            <a:endParaRPr b="1" i="0" dirty="0">
              <a:ln>
                <a:noFill/>
              </a:ln>
              <a:solidFill>
                <a:schemeClr val="dk1"/>
              </a:solidFill>
              <a:latin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15761825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03370" y="414655"/>
            <a:ext cx="1448435" cy="427355"/>
          </a:xfrm>
        </p:spPr>
        <p:txBody>
          <a:bodyPr/>
          <a:lstStyle/>
          <a:p>
            <a:r>
              <a:rPr lang="en-IN" altLang="en-US" sz="1800" dirty="0"/>
              <a:t>Referenc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28275" y="959165"/>
            <a:ext cx="828832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Montserrat" pitchFamily="2" charset="0"/>
              </a:rPr>
              <a:t>1. S. Vanderbeck, J. Bockhorst, C. Oldfather; “A Machine Learning Approach to Identifying Sections in Legal Briefs”, MAICS 201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Montserrat" pitchFamily="2" charset="0"/>
            </a:endParaRPr>
          </a:p>
          <a:p>
            <a:r>
              <a:rPr lang="en-IN" dirty="0">
                <a:latin typeface="Montserrat" pitchFamily="2" charset="0"/>
              </a:rPr>
              <a:t>2. Python – docx docu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Montserrat" pitchFamily="2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BB8E2F9-AC1F-4682-A99A-8C5E19D2E460}"/>
              </a:ext>
            </a:extLst>
          </p:cNvPr>
          <p:cNvCxnSpPr>
            <a:cxnSpLocks/>
          </p:cNvCxnSpPr>
          <p:nvPr/>
        </p:nvCxnSpPr>
        <p:spPr>
          <a:xfrm>
            <a:off x="570451" y="2223083"/>
            <a:ext cx="82967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9D2997-1B7E-41E1-8149-676F7E9796EF}"/>
              </a:ext>
            </a:extLst>
          </p:cNvPr>
          <p:cNvSpPr txBox="1"/>
          <p:nvPr/>
        </p:nvSpPr>
        <p:spPr>
          <a:xfrm>
            <a:off x="570451" y="2571750"/>
            <a:ext cx="814614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anose="00000500000000000000" pitchFamily="2" charset="0"/>
              </a:rPr>
              <a:t>Team Krushers:</a:t>
            </a:r>
          </a:p>
          <a:p>
            <a:endParaRPr lang="en-IN" dirty="0">
              <a:solidFill>
                <a:schemeClr val="tx1">
                  <a:lumMod val="50000"/>
                  <a:lumOff val="50000"/>
                </a:schemeClr>
              </a:solidFill>
              <a:latin typeface="Montserrat" panose="00000500000000000000" pitchFamily="2" charset="0"/>
            </a:endParaRPr>
          </a:p>
          <a:p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anose="00000500000000000000" pitchFamily="2" charset="0"/>
              </a:rPr>
              <a:t>Rajas </a:t>
            </a:r>
            <a:r>
              <a:rPr lang="en-IN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Montserrat" panose="00000500000000000000" pitchFamily="2" charset="0"/>
              </a:rPr>
              <a:t>Takle</a:t>
            </a:r>
            <a:endParaRPr lang="en-IN" dirty="0">
              <a:solidFill>
                <a:schemeClr val="tx1">
                  <a:lumMod val="50000"/>
                  <a:lumOff val="50000"/>
                </a:schemeClr>
              </a:solidFill>
              <a:latin typeface="Montserrat" panose="00000500000000000000" pitchFamily="2" charset="0"/>
            </a:endParaRPr>
          </a:p>
          <a:p>
            <a:r>
              <a:rPr lang="en-IN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Montserrat" panose="00000500000000000000" pitchFamily="2" charset="0"/>
              </a:rPr>
              <a:t>Pudhuyugan</a:t>
            </a:r>
            <a:endParaRPr lang="en-IN" dirty="0">
              <a:solidFill>
                <a:schemeClr val="tx1">
                  <a:lumMod val="50000"/>
                  <a:lumOff val="50000"/>
                </a:schemeClr>
              </a:solidFill>
              <a:latin typeface="Montserrat" panose="00000500000000000000" pitchFamily="2" charset="0"/>
            </a:endParaRPr>
          </a:p>
          <a:p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anose="00000500000000000000" pitchFamily="2" charset="0"/>
              </a:rPr>
              <a:t>Kumaran</a:t>
            </a:r>
          </a:p>
          <a:p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anose="00000500000000000000" pitchFamily="2" charset="0"/>
              </a:rPr>
              <a:t>Vignesh Kumar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9056" y="347355"/>
            <a:ext cx="7717500" cy="572700"/>
          </a:xfrm>
        </p:spPr>
        <p:txBody>
          <a:bodyPr/>
          <a:lstStyle/>
          <a:p>
            <a:pPr algn="ctr"/>
            <a:r>
              <a:rPr lang="en-IN" dirty="0"/>
              <a:t>Overview</a:t>
            </a:r>
          </a:p>
        </p:txBody>
      </p:sp>
      <p:sp>
        <p:nvSpPr>
          <p:cNvPr id="11" name="Flowchart: Process 10"/>
          <p:cNvSpPr/>
          <p:nvPr/>
        </p:nvSpPr>
        <p:spPr>
          <a:xfrm>
            <a:off x="3439486" y="1132514"/>
            <a:ext cx="2290195" cy="343948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  <a:latin typeface="Montserrat" pitchFamily="2" charset="0"/>
              </a:rPr>
              <a:t>Document</a:t>
            </a:r>
            <a:endParaRPr lang="en-IN" dirty="0">
              <a:latin typeface="Montserrat" pitchFamily="2" charset="0"/>
            </a:endParaRPr>
          </a:p>
        </p:txBody>
      </p:sp>
      <p:sp>
        <p:nvSpPr>
          <p:cNvPr id="12" name="Flowchart: Process 11"/>
          <p:cNvSpPr/>
          <p:nvPr/>
        </p:nvSpPr>
        <p:spPr>
          <a:xfrm>
            <a:off x="3439486" y="1719743"/>
            <a:ext cx="2290195" cy="343948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  <a:latin typeface="Montserrat" pitchFamily="2" charset="0"/>
              </a:rPr>
              <a:t>Block of text</a:t>
            </a:r>
          </a:p>
        </p:txBody>
      </p:sp>
      <p:sp>
        <p:nvSpPr>
          <p:cNvPr id="13" name="Flowchart: Process 12"/>
          <p:cNvSpPr/>
          <p:nvPr/>
        </p:nvSpPr>
        <p:spPr>
          <a:xfrm>
            <a:off x="3426877" y="2306972"/>
            <a:ext cx="2290195" cy="343948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  <a:latin typeface="Montserrat" pitchFamily="2" charset="0"/>
              </a:rPr>
              <a:t>Construct features </a:t>
            </a:r>
          </a:p>
        </p:txBody>
      </p:sp>
      <p:sp>
        <p:nvSpPr>
          <p:cNvPr id="15" name="Flowchart: Process 14"/>
          <p:cNvSpPr/>
          <p:nvPr/>
        </p:nvSpPr>
        <p:spPr>
          <a:xfrm>
            <a:off x="3426877" y="2915173"/>
            <a:ext cx="2290195" cy="343948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  <a:latin typeface="Montserrat" pitchFamily="2" charset="0"/>
              </a:rPr>
              <a:t>Classifier</a:t>
            </a:r>
          </a:p>
        </p:txBody>
      </p:sp>
      <p:sp>
        <p:nvSpPr>
          <p:cNvPr id="16" name="Flowchart: Process 15"/>
          <p:cNvSpPr/>
          <p:nvPr/>
        </p:nvSpPr>
        <p:spPr>
          <a:xfrm>
            <a:off x="3426876" y="4232243"/>
            <a:ext cx="2290195" cy="466231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  <a:latin typeface="Montserrat" pitchFamily="2" charset="0"/>
              </a:rPr>
              <a:t>Construct a document based on predictions</a:t>
            </a:r>
          </a:p>
        </p:txBody>
      </p:sp>
      <p:cxnSp>
        <p:nvCxnSpPr>
          <p:cNvPr id="21" name="Straight Arrow Connector 20"/>
          <p:cNvCxnSpPr>
            <a:stCxn id="11" idx="2"/>
            <a:endCxn id="12" idx="0"/>
          </p:cNvCxnSpPr>
          <p:nvPr/>
        </p:nvCxnSpPr>
        <p:spPr>
          <a:xfrm>
            <a:off x="4584584" y="1476462"/>
            <a:ext cx="0" cy="2432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4567806" y="2063691"/>
            <a:ext cx="0" cy="2432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4572000" y="2671892"/>
            <a:ext cx="0" cy="2432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3905075" y="3580517"/>
            <a:ext cx="1359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>
                <a:latin typeface="Montserrat" pitchFamily="2" charset="0"/>
              </a:rPr>
              <a:t>Subheading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314428" y="3591793"/>
            <a:ext cx="1136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>
                <a:latin typeface="Montserrat" pitchFamily="2" charset="0"/>
              </a:rPr>
              <a:t>Sectio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692867" y="3580517"/>
            <a:ext cx="1136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>
                <a:latin typeface="Montserrat" pitchFamily="2" charset="0"/>
              </a:rPr>
              <a:t>Heading</a:t>
            </a:r>
          </a:p>
        </p:txBody>
      </p:sp>
      <p:cxnSp>
        <p:nvCxnSpPr>
          <p:cNvPr id="30" name="Straight Arrow Connector 29"/>
          <p:cNvCxnSpPr>
            <a:stCxn id="15" idx="2"/>
            <a:endCxn id="26" idx="0"/>
          </p:cNvCxnSpPr>
          <p:nvPr/>
        </p:nvCxnSpPr>
        <p:spPr>
          <a:xfrm>
            <a:off x="4571975" y="3259121"/>
            <a:ext cx="12608" cy="321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2"/>
            <a:endCxn id="28" idx="0"/>
          </p:cNvCxnSpPr>
          <p:nvPr/>
        </p:nvCxnSpPr>
        <p:spPr>
          <a:xfrm flipH="1">
            <a:off x="3261221" y="3259121"/>
            <a:ext cx="1310754" cy="321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5" idx="2"/>
            <a:endCxn id="27" idx="0"/>
          </p:cNvCxnSpPr>
          <p:nvPr/>
        </p:nvCxnSpPr>
        <p:spPr>
          <a:xfrm>
            <a:off x="4571975" y="3259121"/>
            <a:ext cx="1310807" cy="3326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8" idx="2"/>
            <a:endCxn id="16" idx="0"/>
          </p:cNvCxnSpPr>
          <p:nvPr/>
        </p:nvCxnSpPr>
        <p:spPr>
          <a:xfrm>
            <a:off x="3261221" y="3888294"/>
            <a:ext cx="1310753" cy="3439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stCxn id="26" idx="2"/>
            <a:endCxn id="16" idx="0"/>
          </p:cNvCxnSpPr>
          <p:nvPr/>
        </p:nvCxnSpPr>
        <p:spPr>
          <a:xfrm flipH="1">
            <a:off x="4571974" y="3888294"/>
            <a:ext cx="12609" cy="3439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27" idx="2"/>
            <a:endCxn id="16" idx="0"/>
          </p:cNvCxnSpPr>
          <p:nvPr/>
        </p:nvCxnSpPr>
        <p:spPr>
          <a:xfrm flipH="1">
            <a:off x="4571974" y="3899570"/>
            <a:ext cx="1310808" cy="3326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able of Contents: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1400" dirty="0"/>
              <a:t>Segmentation of Document – Preprocessing Step</a:t>
            </a:r>
          </a:p>
          <a:p>
            <a:endParaRPr lang="en-IN" dirty="0"/>
          </a:p>
          <a:p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chine Learning Approach</a:t>
            </a:r>
          </a:p>
          <a:p>
            <a:pPr lvl="1"/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eatures</a:t>
            </a:r>
          </a:p>
          <a:p>
            <a:pPr lvl="1"/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loratory Data Analysis</a:t>
            </a:r>
          </a:p>
          <a:p>
            <a:pPr lvl="1"/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ults</a:t>
            </a:r>
          </a:p>
          <a:p>
            <a:pPr lvl="1"/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valuation Metrics</a:t>
            </a:r>
          </a:p>
          <a:p>
            <a:pPr lvl="1"/>
            <a:endParaRPr lang="en-IN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cument Reconstruction</a:t>
            </a:r>
            <a:endParaRPr lang="en-IN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IN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ferences</a:t>
            </a:r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>
            <a:off x="713225" y="1257300"/>
            <a:ext cx="7709256" cy="40719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3225" y="445025"/>
            <a:ext cx="7491208" cy="572700"/>
          </a:xfrm>
        </p:spPr>
        <p:txBody>
          <a:bodyPr/>
          <a:lstStyle/>
          <a:p>
            <a:r>
              <a:rPr lang="en-IN" dirty="0"/>
              <a:t>Segmenting Documents into block of texts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3250" y="1272925"/>
            <a:ext cx="5200989" cy="32958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IN" sz="1200" dirty="0"/>
              <a:t>\n used as separator to segment document into block of text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200" dirty="0"/>
              <a:t>Headings and Sub-headings are single line texts whereas paragraphs could be multiple line texts.  </a:t>
            </a:r>
          </a:p>
          <a:p>
            <a:endParaRPr lang="en-IN" sz="1200" dirty="0"/>
          </a:p>
          <a:p>
            <a:pPr marL="114300" indent="0" algn="ctr">
              <a:buNone/>
            </a:pPr>
            <a:r>
              <a:rPr lang="en-IN" sz="1400" b="1" dirty="0"/>
              <a:t>File Handling</a:t>
            </a:r>
          </a:p>
          <a:p>
            <a:pPr marL="114300" indent="0" algn="ctr">
              <a:buNone/>
            </a:pPr>
            <a:endParaRPr lang="en-IN" sz="1400" b="1" dirty="0"/>
          </a:p>
          <a:p>
            <a:pPr>
              <a:buFont typeface="Wingdings" panose="05000000000000000000" pitchFamily="2" charset="2"/>
              <a:buChar char="§"/>
            </a:pPr>
            <a:r>
              <a:rPr lang="en-IN" sz="1200" dirty="0">
                <a:effectLst/>
                <a:highlight>
                  <a:srgbClr val="C0C0C0"/>
                </a:highlight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python-docx</a:t>
            </a:r>
            <a:r>
              <a:rPr lang="en-IN" sz="1200" dirty="0">
                <a:solidFill>
                  <a:sysClr val="windowText" lastClr="000000"/>
                </a:solidFill>
                <a:latin typeface="Montserrat" pitchFamily="2" charset="0"/>
              </a:rPr>
              <a:t> library for .docx type files. </a:t>
            </a:r>
            <a:endParaRPr lang="en-IN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IN" sz="1200" dirty="0">
                <a:solidFill>
                  <a:sysClr val="windowText" lastClr="000000"/>
                </a:solidFill>
                <a:latin typeface="Montserrat" pitchFamily="2" charset="0"/>
              </a:rPr>
              <a:t>Tables were read as single line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200" dirty="0">
                <a:solidFill>
                  <a:sysClr val="windowText" lastClr="000000"/>
                </a:solidFill>
                <a:latin typeface="Montserrat" pitchFamily="2" charset="0"/>
              </a:rPr>
              <a:t>Features were accounted for if it was extracted from table or if a block contains an image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200" dirty="0">
                <a:solidFill>
                  <a:sysClr val="windowText" lastClr="000000"/>
                </a:solidFill>
                <a:latin typeface="Montserrat" pitchFamily="2" charset="0"/>
              </a:rPr>
              <a:t>.doc files were converted into .docx type files and the same procedure was followed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200" dirty="0">
                <a:solidFill>
                  <a:sysClr val="windowText" lastClr="000000"/>
                </a:solidFill>
                <a:latin typeface="Montserrat" pitchFamily="2" charset="0"/>
              </a:rPr>
              <a:t>.txt files doesn’t contain explicit tables and images. It was read by line. Presence of word ‘table’ and ‘figures’ were noted.</a:t>
            </a:r>
          </a:p>
        </p:txBody>
      </p:sp>
      <p:sp>
        <p:nvSpPr>
          <p:cNvPr id="9" name="Rectangle 8"/>
          <p:cNvSpPr/>
          <p:nvPr/>
        </p:nvSpPr>
        <p:spPr>
          <a:xfrm>
            <a:off x="5914239" y="1340643"/>
            <a:ext cx="2969704" cy="24622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b="1" dirty="0">
                <a:solidFill>
                  <a:schemeClr val="tx1"/>
                </a:solidFill>
              </a:rPr>
              <a:t>___________ </a:t>
            </a:r>
            <a:r>
              <a:rPr lang="en-IN" b="1" dirty="0"/>
              <a:t>      </a:t>
            </a:r>
            <a:r>
              <a:rPr lang="en-IN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&lt;Heading&gt;</a:t>
            </a:r>
          </a:p>
          <a:p>
            <a:r>
              <a:rPr lang="en-IN" b="1" dirty="0">
                <a:solidFill>
                  <a:schemeClr val="tx1"/>
                </a:solidFill>
              </a:rPr>
              <a:t>___________</a:t>
            </a:r>
            <a:r>
              <a:rPr lang="en-IN" b="1" dirty="0"/>
              <a:t>       </a:t>
            </a:r>
            <a:r>
              <a:rPr lang="en-IN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&lt;Sub-Heading&gt;</a:t>
            </a:r>
          </a:p>
          <a:p>
            <a:endParaRPr lang="en-IN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IN" b="1" dirty="0">
                <a:solidFill>
                  <a:schemeClr val="tx1"/>
                </a:solidFill>
              </a:rPr>
              <a:t>___________</a:t>
            </a:r>
          </a:p>
          <a:p>
            <a:r>
              <a:rPr lang="en-IN" b="1" dirty="0">
                <a:solidFill>
                  <a:schemeClr val="tx1"/>
                </a:solidFill>
              </a:rPr>
              <a:t>___________</a:t>
            </a:r>
          </a:p>
          <a:p>
            <a:endParaRPr lang="en-IN" b="1" dirty="0"/>
          </a:p>
          <a:p>
            <a:r>
              <a:rPr lang="en-IN" b="1" dirty="0">
                <a:solidFill>
                  <a:schemeClr val="tx1"/>
                </a:solidFill>
              </a:rPr>
              <a:t>___________</a:t>
            </a:r>
          </a:p>
          <a:p>
            <a:r>
              <a:rPr lang="en-IN" b="1" dirty="0">
                <a:solidFill>
                  <a:schemeClr val="tx1"/>
                </a:solidFill>
              </a:rPr>
              <a:t>___________</a:t>
            </a:r>
            <a:r>
              <a:rPr lang="en-IN" b="1" dirty="0"/>
              <a:t>        </a:t>
            </a:r>
            <a:r>
              <a:rPr lang="en-IN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&lt;Section&gt;</a:t>
            </a:r>
          </a:p>
          <a:p>
            <a:endParaRPr lang="en-IN" b="1" dirty="0"/>
          </a:p>
          <a:p>
            <a:r>
              <a:rPr lang="en-IN" b="1" dirty="0">
                <a:solidFill>
                  <a:schemeClr val="tx1"/>
                </a:solidFill>
              </a:rPr>
              <a:t>___________</a:t>
            </a:r>
          </a:p>
          <a:p>
            <a:r>
              <a:rPr lang="en-IN" b="1" dirty="0">
                <a:solidFill>
                  <a:schemeClr val="tx1"/>
                </a:solidFill>
              </a:rPr>
              <a:t>___________</a:t>
            </a:r>
          </a:p>
        </p:txBody>
      </p:sp>
      <p:sp>
        <p:nvSpPr>
          <p:cNvPr id="17" name="Right Brace 16"/>
          <p:cNvSpPr/>
          <p:nvPr/>
        </p:nvSpPr>
        <p:spPr>
          <a:xfrm>
            <a:off x="7155809" y="2197916"/>
            <a:ext cx="226503" cy="16049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ble of Contents: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gmentation of Document – Preprocessing Step</a:t>
            </a:r>
          </a:p>
          <a:p>
            <a:endParaRPr lang="en-IN" dirty="0"/>
          </a:p>
          <a:p>
            <a:r>
              <a:rPr lang="en-IN" sz="1400" dirty="0"/>
              <a:t>Machine Learning Approach</a:t>
            </a:r>
          </a:p>
          <a:p>
            <a:pPr lvl="1"/>
            <a:r>
              <a:rPr lang="en-IN" dirty="0"/>
              <a:t>Features</a:t>
            </a:r>
          </a:p>
          <a:p>
            <a:pPr lvl="1"/>
            <a:r>
              <a:rPr lang="en-IN" dirty="0"/>
              <a:t>Exploratory Data Analysis</a:t>
            </a:r>
          </a:p>
          <a:p>
            <a:pPr lvl="1"/>
            <a:r>
              <a:rPr lang="en-IN" dirty="0"/>
              <a:t>Results</a:t>
            </a:r>
          </a:p>
          <a:p>
            <a:pPr lvl="1"/>
            <a:r>
              <a:rPr lang="en-IN" dirty="0"/>
              <a:t>Evaluation Metrics</a:t>
            </a:r>
          </a:p>
          <a:p>
            <a:pPr lvl="1"/>
            <a:endParaRPr lang="en-IN" dirty="0"/>
          </a:p>
          <a:p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cument Reconstruction</a:t>
            </a:r>
          </a:p>
          <a:p>
            <a:endParaRPr lang="en-IN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ferences</a:t>
            </a:r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>
            <a:off x="713225" y="1676748"/>
            <a:ext cx="7709256" cy="13349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/>
              <a:t>Feature Extraction</a:t>
            </a:r>
          </a:p>
        </p:txBody>
      </p:sp>
      <p:graphicFrame>
        <p:nvGraphicFramePr>
          <p:cNvPr id="4" name="Google Shape;290;p46">
            <a:extLst>
              <a:ext uri="{FF2B5EF4-FFF2-40B4-BE49-F238E27FC236}">
                <a16:creationId xmlns:a16="http://schemas.microsoft.com/office/drawing/2014/main" id="{20D32BA1-084A-47B5-9955-C758339A34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1573973"/>
              </p:ext>
            </p:extLst>
          </p:nvPr>
        </p:nvGraphicFramePr>
        <p:xfrm>
          <a:off x="713225" y="1241799"/>
          <a:ext cx="7953375" cy="3507586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943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11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29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400" b="1" dirty="0">
                          <a:solidFill>
                            <a:srgbClr val="F5F2EE"/>
                          </a:solidFill>
                          <a:latin typeface="Montserrat" panose="00000500000000000000" pitchFamily="2" charset="0"/>
                        </a:rPr>
                        <a:t>Feature</a:t>
                      </a:r>
                      <a:endParaRPr sz="1400" b="1" dirty="0">
                        <a:solidFill>
                          <a:srgbClr val="F5F2EE"/>
                        </a:solidFill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3802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3F353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400" b="1" dirty="0">
                          <a:solidFill>
                            <a:srgbClr val="F5F2EE"/>
                          </a:solidFill>
                          <a:latin typeface="Montserrat" panose="00000500000000000000" pitchFamily="2" charset="0"/>
                        </a:rPr>
                        <a:t>Type</a:t>
                      </a:r>
                      <a:endParaRPr sz="1400" b="1" dirty="0">
                        <a:solidFill>
                          <a:srgbClr val="F5F2EE"/>
                        </a:solidFill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3802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3F353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400" b="1" dirty="0">
                          <a:solidFill>
                            <a:srgbClr val="F5F2EE"/>
                          </a:solidFill>
                          <a:latin typeface="Montserrat" panose="00000500000000000000" pitchFamily="2" charset="0"/>
                        </a:rPr>
                        <a:t>Intuition</a:t>
                      </a:r>
                      <a:endParaRPr sz="1400" b="1" dirty="0">
                        <a:solidFill>
                          <a:srgbClr val="F5F2EE"/>
                        </a:solidFill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3802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3F35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Percentage capital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02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Continuous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02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Headings have a higher percentage of capital letters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02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Words count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Continuous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Sections have higher word count followed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Starts with integer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Categorical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Headings have a higher chance of starting with a number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Stop words count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Continuous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Sections have a higher stop word count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Ends with dot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Categorical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Sections end with a period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Starts with decimal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Categorical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Sub-headings start with a decimal number (eg: 4.1)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Contains word “Table”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Categorical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Sections contain the word “Table”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Contains image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Categorical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Sections contain images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Contains “%” symbol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Categorical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Sections have “%” symbol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ECE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Contains table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 algn="ctr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>
                          <a:latin typeface="Montserrat" panose="00000500000000000000" pitchFamily="2" charset="0"/>
                        </a:rPr>
                        <a:t>Categorical</a:t>
                      </a:r>
                      <a:endParaRPr sz="110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 algn="ctr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>
                          <a:latin typeface="Montserrat" panose="00000500000000000000" pitchFamily="2" charset="0"/>
                        </a:rPr>
                        <a:t>Sections contain tables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 algn="ctr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>
                          <a:latin typeface="Montserrat" panose="00000500000000000000" pitchFamily="2" charset="0"/>
                        </a:rPr>
                        <a:t>Contains word “Section”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 algn="ctr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>
                          <a:latin typeface="Montserrat" panose="00000500000000000000" pitchFamily="2" charset="0"/>
                        </a:rPr>
                        <a:t>Categorical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 algn="ctr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 algn="ctr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>
                          <a:latin typeface="Montserrat" panose="00000500000000000000" pitchFamily="2" charset="0"/>
                        </a:rPr>
                        <a:t>Sections contain the word “Section”</a:t>
                      </a:r>
                      <a:endParaRPr sz="1100" dirty="0">
                        <a:latin typeface="Montserrat" panose="00000500000000000000" pitchFamily="2" charset="0"/>
                      </a:endParaRPr>
                    </a:p>
                  </a:txBody>
                  <a:tcPr marL="91450" marR="91450" marT="45725" marB="45725">
                    <a:lnL w="12575" cap="flat" cmpd="sng" algn="ctr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575" cap="flat" cmpd="sng">
                      <a:solidFill>
                        <a:srgbClr val="F5F2E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250636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53400"/>
            <a:ext cx="9144000" cy="572700"/>
          </a:xfrm>
        </p:spPr>
        <p:txBody>
          <a:bodyPr/>
          <a:lstStyle/>
          <a:p>
            <a:pPr algn="ctr"/>
            <a:r>
              <a:rPr lang="en-IN" dirty="0"/>
              <a:t>Exploratory Data Analysis</a:t>
            </a:r>
          </a:p>
        </p:txBody>
      </p:sp>
      <p:graphicFrame>
        <p:nvGraphicFramePr>
          <p:cNvPr id="9" name="Chart 8"/>
          <p:cNvGraphicFramePr/>
          <p:nvPr/>
        </p:nvGraphicFramePr>
        <p:xfrm>
          <a:off x="314587" y="632029"/>
          <a:ext cx="8514825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/>
          <p:cNvGraphicFramePr/>
          <p:nvPr/>
        </p:nvGraphicFramePr>
        <p:xfrm>
          <a:off x="6604233" y="1301764"/>
          <a:ext cx="2382474" cy="1459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3250" y="253400"/>
            <a:ext cx="7717500" cy="572700"/>
          </a:xfrm>
        </p:spPr>
        <p:txBody>
          <a:bodyPr/>
          <a:lstStyle/>
          <a:p>
            <a:pPr algn="ctr"/>
            <a:r>
              <a:rPr lang="en-IN" dirty="0"/>
              <a:t>Classifiers</a:t>
            </a:r>
            <a:br>
              <a:rPr lang="en-IN" dirty="0"/>
            </a:br>
            <a:endParaRPr lang="en-IN" dirty="0"/>
          </a:p>
        </p:txBody>
      </p:sp>
      <p:graphicFrame>
        <p:nvGraphicFramePr>
          <p:cNvPr id="6" name="Chart 5"/>
          <p:cNvGraphicFramePr/>
          <p:nvPr/>
        </p:nvGraphicFramePr>
        <p:xfrm>
          <a:off x="307596" y="826100"/>
          <a:ext cx="4264404" cy="3094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13250" y="3920211"/>
            <a:ext cx="40351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50" dirty="0">
                <a:latin typeface="Montserrat" pitchFamily="2" charset="0"/>
              </a:rPr>
              <a:t>Random forest and logistic regression with manually constructed features outperformed other classifiers. Random Forest was picked considering the intuitive control statements for this problem statement.</a:t>
            </a:r>
          </a:p>
        </p:txBody>
      </p:sp>
      <p:graphicFrame>
        <p:nvGraphicFramePr>
          <p:cNvPr id="10" name="Chart 9"/>
          <p:cNvGraphicFramePr/>
          <p:nvPr/>
        </p:nvGraphicFramePr>
        <p:xfrm>
          <a:off x="4748354" y="826099"/>
          <a:ext cx="4264404" cy="3094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2" name="Straight Connector 11"/>
          <p:cNvCxnSpPr/>
          <p:nvPr/>
        </p:nvCxnSpPr>
        <p:spPr>
          <a:xfrm>
            <a:off x="981512" y="1333850"/>
            <a:ext cx="29193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5301842" y="1333850"/>
            <a:ext cx="32549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4863004" y="3920211"/>
            <a:ext cx="403510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50" dirty="0">
                <a:latin typeface="Montserrat" pitchFamily="2" charset="0"/>
              </a:rPr>
              <a:t>Support Vector Classifier was chosen among the classifiers tested. This would be a good pick as SVM’s tend to generalize well. 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mnT1n2J0WlNqV_wr50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yixfn7h0OFQ3P2hEzR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g_YBC7_UuiuQ3LtJIV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mnT1n2J0WlNqV_wr50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mnT1n2J0WlNqV_wr50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yixfn7h0OFQ3P2hEzR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g_YBC7_UuiuQ3LtJIVNA"/>
</p:tagLst>
</file>

<file path=ppt/theme/theme1.xml><?xml version="1.0" encoding="utf-8"?>
<a:theme xmlns:a="http://schemas.openxmlformats.org/drawingml/2006/main" name="Minimalist Business Slides by Slidesgo">
  <a:themeElements>
    <a:clrScheme name="Simple Light">
      <a:dk1>
        <a:srgbClr val="000000"/>
      </a:dk1>
      <a:lt1>
        <a:srgbClr val="F5F2EE"/>
      </a:lt1>
      <a:dk2>
        <a:srgbClr val="000000"/>
      </a:dk2>
      <a:lt2>
        <a:srgbClr val="EEEEEE"/>
      </a:lt2>
      <a:accent1>
        <a:srgbClr val="3F3533"/>
      </a:accent1>
      <a:accent2>
        <a:srgbClr val="3F3533"/>
      </a:accent2>
      <a:accent3>
        <a:srgbClr val="3F3533"/>
      </a:accent3>
      <a:accent4>
        <a:srgbClr val="3F3533"/>
      </a:accent4>
      <a:accent5>
        <a:srgbClr val="3F3533"/>
      </a:accent5>
      <a:accent6>
        <a:srgbClr val="3F3533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61</TotalTime>
  <Words>916</Words>
  <Application>Microsoft Office PowerPoint</Application>
  <PresentationFormat>On-screen Show (16:9)</PresentationFormat>
  <Paragraphs>186</Paragraphs>
  <Slides>1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5" baseType="lpstr">
      <vt:lpstr>Vidaloka</vt:lpstr>
      <vt:lpstr>Arial</vt:lpstr>
      <vt:lpstr>Montserrat</vt:lpstr>
      <vt:lpstr>Open Sans SemiBold</vt:lpstr>
      <vt:lpstr>Times New Roman</vt:lpstr>
      <vt:lpstr>Merriweather Light</vt:lpstr>
      <vt:lpstr>Barlow</vt:lpstr>
      <vt:lpstr>Wingdings</vt:lpstr>
      <vt:lpstr>Consolas</vt:lpstr>
      <vt:lpstr>Josefin Sans</vt:lpstr>
      <vt:lpstr>Calibri</vt:lpstr>
      <vt:lpstr>Barlow Light</vt:lpstr>
      <vt:lpstr>Crimson Text</vt:lpstr>
      <vt:lpstr>Russo One</vt:lpstr>
      <vt:lpstr>Lato</vt:lpstr>
      <vt:lpstr>Minimalist Business Slides by Slidesgo</vt:lpstr>
      <vt:lpstr>AstraZeneca AI Hackathon</vt:lpstr>
      <vt:lpstr>PowerPoint Presentation</vt:lpstr>
      <vt:lpstr>Overview</vt:lpstr>
      <vt:lpstr>Table of Contents:</vt:lpstr>
      <vt:lpstr>Segmenting Documents into block of texts.</vt:lpstr>
      <vt:lpstr>Table of Contents:</vt:lpstr>
      <vt:lpstr>Feature Extraction</vt:lpstr>
      <vt:lpstr>Exploratory Data Analysis</vt:lpstr>
      <vt:lpstr>Classifiers </vt:lpstr>
      <vt:lpstr>PowerPoint Presentation</vt:lpstr>
      <vt:lpstr>Visualization of Random Forest trees-</vt:lpstr>
      <vt:lpstr>PowerPoint Presentation</vt:lpstr>
      <vt:lpstr>Misclassified samples-</vt:lpstr>
      <vt:lpstr>Table of Contents:</vt:lpstr>
      <vt:lpstr>Document Reconstruction</vt:lpstr>
      <vt:lpstr>PowerPoint Presentation</vt:lpstr>
      <vt:lpstr>distilBERT – Hugging Face</vt:lpstr>
      <vt:lpstr>PowerPoint Presentation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GNESH S</dc:creator>
  <cp:lastModifiedBy>Vignesh Kumar</cp:lastModifiedBy>
  <cp:revision>42</cp:revision>
  <dcterms:created xsi:type="dcterms:W3CDTF">2022-01-13T05:34:02Z</dcterms:created>
  <dcterms:modified xsi:type="dcterms:W3CDTF">2022-08-01T16:3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5490565625F4E11855D412DD3248D15</vt:lpwstr>
  </property>
  <property fmtid="{D5CDD505-2E9C-101B-9397-08002B2CF9AE}" pid="3" name="KSOProductBuildVer">
    <vt:lpwstr>1033-11.2.0.10307</vt:lpwstr>
  </property>
</Properties>
</file>